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8" r:id="rId3"/>
    <p:sldId id="264" r:id="rId4"/>
    <p:sldId id="275" r:id="rId5"/>
    <p:sldId id="270" r:id="rId6"/>
    <p:sldId id="276" r:id="rId7"/>
    <p:sldId id="268" r:id="rId8"/>
    <p:sldId id="269" r:id="rId9"/>
    <p:sldId id="272" r:id="rId10"/>
    <p:sldId id="273" r:id="rId11"/>
    <p:sldId id="277" r:id="rId12"/>
    <p:sldId id="278" r:id="rId13"/>
    <p:sldId id="261" r:id="rId14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9" d="100"/>
          <a:sy n="109" d="100"/>
        </p:scale>
        <p:origin x="80" y="10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9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ḷïḑè">
            <a:extLst>
              <a:ext uri="{FF2B5EF4-FFF2-40B4-BE49-F238E27FC236}">
                <a16:creationId xmlns:a16="http://schemas.microsoft.com/office/drawing/2014/main" id="{0F0881E7-E87D-4014-AA0F-B7307BF623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9" name="ïṡľîdè">
            <a:extLst>
              <a:ext uri="{FF2B5EF4-FFF2-40B4-BE49-F238E27FC236}">
                <a16:creationId xmlns:a16="http://schemas.microsoft.com/office/drawing/2014/main" id="{9F597701-8580-4B13-86DD-14593D89160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702298" y="4516341"/>
            <a:ext cx="5816601" cy="387482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5702298" y="1150354"/>
            <a:ext cx="5816601" cy="3311520"/>
          </a:xfrm>
        </p:spPr>
        <p:txBody>
          <a:bodyPr anchor="b">
            <a:normAutofit/>
          </a:bodyPr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847167" y="5243208"/>
            <a:ext cx="567173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847167" y="5539479"/>
            <a:ext cx="567173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6412B713-A340-4E0E-902A-4CE87F3D6ABF}"/>
              </a:ext>
            </a:extLst>
          </p:cNvPr>
          <p:cNvGrpSpPr/>
          <p:nvPr userDrawn="1"/>
        </p:nvGrpSpPr>
        <p:grpSpPr>
          <a:xfrm>
            <a:off x="0" y="1150354"/>
            <a:ext cx="5120838" cy="5742866"/>
            <a:chOff x="0" y="258409"/>
            <a:chExt cx="4705993" cy="5277630"/>
          </a:xfrm>
        </p:grpSpPr>
        <p:sp>
          <p:nvSpPr>
            <p:cNvPr id="102" name="isľîḋè">
              <a:extLst>
                <a:ext uri="{FF2B5EF4-FFF2-40B4-BE49-F238E27FC236}">
                  <a16:creationId xmlns:a16="http://schemas.microsoft.com/office/drawing/2014/main" id="{65EF83C5-ED78-444E-8141-D89C01671CC3}"/>
                </a:ext>
              </a:extLst>
            </p:cNvPr>
            <p:cNvSpPr/>
            <p:nvPr/>
          </p:nvSpPr>
          <p:spPr bwMode="auto">
            <a:xfrm>
              <a:off x="2108545" y="813752"/>
              <a:ext cx="2136124" cy="2107292"/>
            </a:xfrm>
            <a:custGeom>
              <a:avLst/>
              <a:gdLst>
                <a:gd name="T0" fmla="*/ 44 w 1701"/>
                <a:gd name="T1" fmla="*/ 1297 h 1679"/>
                <a:gd name="T2" fmla="*/ 350 w 1701"/>
                <a:gd name="T3" fmla="*/ 1478 h 1679"/>
                <a:gd name="T4" fmla="*/ 256 w 1701"/>
                <a:gd name="T5" fmla="*/ 1242 h 1679"/>
                <a:gd name="T6" fmla="*/ 500 w 1701"/>
                <a:gd name="T7" fmla="*/ 915 h 1679"/>
                <a:gd name="T8" fmla="*/ 1041 w 1701"/>
                <a:gd name="T9" fmla="*/ 1000 h 1679"/>
                <a:gd name="T10" fmla="*/ 1085 w 1701"/>
                <a:gd name="T11" fmla="*/ 1345 h 1679"/>
                <a:gd name="T12" fmla="*/ 1219 w 1701"/>
                <a:gd name="T13" fmla="*/ 910 h 1679"/>
                <a:gd name="T14" fmla="*/ 801 w 1701"/>
                <a:gd name="T15" fmla="*/ 719 h 1679"/>
                <a:gd name="T16" fmla="*/ 1118 w 1701"/>
                <a:gd name="T17" fmla="*/ 640 h 1679"/>
                <a:gd name="T18" fmla="*/ 1603 w 1701"/>
                <a:gd name="T19" fmla="*/ 709 h 1679"/>
                <a:gd name="T20" fmla="*/ 1095 w 1701"/>
                <a:gd name="T21" fmla="*/ 459 h 1679"/>
                <a:gd name="T22" fmla="*/ 812 w 1701"/>
                <a:gd name="T23" fmla="*/ 570 h 1679"/>
                <a:gd name="T24" fmla="*/ 1028 w 1701"/>
                <a:gd name="T25" fmla="*/ 428 h 1679"/>
                <a:gd name="T26" fmla="*/ 1477 w 1701"/>
                <a:gd name="T27" fmla="*/ 345 h 1679"/>
                <a:gd name="T28" fmla="*/ 974 w 1701"/>
                <a:gd name="T29" fmla="*/ 318 h 1679"/>
                <a:gd name="T30" fmla="*/ 722 w 1701"/>
                <a:gd name="T31" fmla="*/ 520 h 1679"/>
                <a:gd name="T32" fmla="*/ 855 w 1701"/>
                <a:gd name="T33" fmla="*/ 349 h 1679"/>
                <a:gd name="T34" fmla="*/ 1136 w 1701"/>
                <a:gd name="T35" fmla="*/ 96 h 1679"/>
                <a:gd name="T36" fmla="*/ 731 w 1701"/>
                <a:gd name="T37" fmla="*/ 275 h 1679"/>
                <a:gd name="T38" fmla="*/ 550 w 1701"/>
                <a:gd name="T39" fmla="*/ 549 h 1679"/>
                <a:gd name="T40" fmla="*/ 197 w 1701"/>
                <a:gd name="T41" fmla="*/ 402 h 1679"/>
                <a:gd name="T42" fmla="*/ 31 w 1701"/>
                <a:gd name="T43" fmla="*/ 888 h 1679"/>
                <a:gd name="T44" fmla="*/ 179 w 1701"/>
                <a:gd name="T45" fmla="*/ 933 h 1679"/>
                <a:gd name="T46" fmla="*/ 44 w 1701"/>
                <a:gd name="T47" fmla="*/ 1297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1" h="1679">
                  <a:moveTo>
                    <a:pt x="44" y="1297"/>
                  </a:moveTo>
                  <a:cubicBezTo>
                    <a:pt x="75" y="1419"/>
                    <a:pt x="199" y="1679"/>
                    <a:pt x="350" y="1478"/>
                  </a:cubicBezTo>
                  <a:cubicBezTo>
                    <a:pt x="424" y="1380"/>
                    <a:pt x="288" y="1341"/>
                    <a:pt x="256" y="1242"/>
                  </a:cubicBezTo>
                  <a:cubicBezTo>
                    <a:pt x="221" y="1130"/>
                    <a:pt x="402" y="961"/>
                    <a:pt x="500" y="915"/>
                  </a:cubicBezTo>
                  <a:cubicBezTo>
                    <a:pt x="598" y="869"/>
                    <a:pt x="1000" y="878"/>
                    <a:pt x="1041" y="1000"/>
                  </a:cubicBezTo>
                  <a:cubicBezTo>
                    <a:pt x="1074" y="1100"/>
                    <a:pt x="964" y="1282"/>
                    <a:pt x="1085" y="1345"/>
                  </a:cubicBezTo>
                  <a:cubicBezTo>
                    <a:pt x="1263" y="1438"/>
                    <a:pt x="1338" y="1087"/>
                    <a:pt x="1219" y="910"/>
                  </a:cubicBezTo>
                  <a:cubicBezTo>
                    <a:pt x="1135" y="785"/>
                    <a:pt x="801" y="719"/>
                    <a:pt x="801" y="719"/>
                  </a:cubicBezTo>
                  <a:cubicBezTo>
                    <a:pt x="895" y="653"/>
                    <a:pt x="1006" y="635"/>
                    <a:pt x="1118" y="640"/>
                  </a:cubicBezTo>
                  <a:cubicBezTo>
                    <a:pt x="1455" y="655"/>
                    <a:pt x="1558" y="819"/>
                    <a:pt x="1603" y="709"/>
                  </a:cubicBezTo>
                  <a:cubicBezTo>
                    <a:pt x="1701" y="473"/>
                    <a:pt x="1320" y="404"/>
                    <a:pt x="1095" y="459"/>
                  </a:cubicBezTo>
                  <a:cubicBezTo>
                    <a:pt x="938" y="498"/>
                    <a:pt x="812" y="570"/>
                    <a:pt x="812" y="570"/>
                  </a:cubicBezTo>
                  <a:cubicBezTo>
                    <a:pt x="875" y="502"/>
                    <a:pt x="951" y="464"/>
                    <a:pt x="1028" y="428"/>
                  </a:cubicBezTo>
                  <a:cubicBezTo>
                    <a:pt x="1282" y="309"/>
                    <a:pt x="1441" y="446"/>
                    <a:pt x="1477" y="345"/>
                  </a:cubicBezTo>
                  <a:cubicBezTo>
                    <a:pt x="1541" y="170"/>
                    <a:pt x="1283" y="134"/>
                    <a:pt x="974" y="318"/>
                  </a:cubicBezTo>
                  <a:cubicBezTo>
                    <a:pt x="827" y="405"/>
                    <a:pt x="722" y="520"/>
                    <a:pt x="722" y="520"/>
                  </a:cubicBezTo>
                  <a:cubicBezTo>
                    <a:pt x="752" y="448"/>
                    <a:pt x="806" y="389"/>
                    <a:pt x="855" y="349"/>
                  </a:cubicBezTo>
                  <a:cubicBezTo>
                    <a:pt x="1017" y="216"/>
                    <a:pt x="1213" y="227"/>
                    <a:pt x="1136" y="96"/>
                  </a:cubicBezTo>
                  <a:cubicBezTo>
                    <a:pt x="1079" y="0"/>
                    <a:pt x="869" y="128"/>
                    <a:pt x="731" y="275"/>
                  </a:cubicBezTo>
                  <a:cubicBezTo>
                    <a:pt x="613" y="401"/>
                    <a:pt x="550" y="549"/>
                    <a:pt x="550" y="549"/>
                  </a:cubicBezTo>
                  <a:cubicBezTo>
                    <a:pt x="197" y="402"/>
                    <a:pt x="197" y="402"/>
                    <a:pt x="197" y="402"/>
                  </a:cubicBezTo>
                  <a:cubicBezTo>
                    <a:pt x="31" y="888"/>
                    <a:pt x="31" y="888"/>
                    <a:pt x="31" y="888"/>
                  </a:cubicBezTo>
                  <a:cubicBezTo>
                    <a:pt x="179" y="933"/>
                    <a:pt x="179" y="933"/>
                    <a:pt x="179" y="933"/>
                  </a:cubicBezTo>
                  <a:cubicBezTo>
                    <a:pt x="78" y="1052"/>
                    <a:pt x="0" y="1122"/>
                    <a:pt x="44" y="1297"/>
                  </a:cubicBezTo>
                  <a:close/>
                </a:path>
              </a:pathLst>
            </a:custGeom>
            <a:solidFill>
              <a:srgbClr val="F7D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3" name="íṩḻïḑé">
              <a:extLst>
                <a:ext uri="{FF2B5EF4-FFF2-40B4-BE49-F238E27FC236}">
                  <a16:creationId xmlns:a16="http://schemas.microsoft.com/office/drawing/2014/main" id="{7A1FEEC3-956C-4EA0-B0EC-A4AA87D7680B}"/>
                </a:ext>
              </a:extLst>
            </p:cNvPr>
            <p:cNvSpPr/>
            <p:nvPr/>
          </p:nvSpPr>
          <p:spPr bwMode="auto">
            <a:xfrm>
              <a:off x="1984439" y="1213648"/>
              <a:ext cx="486395" cy="783497"/>
            </a:xfrm>
            <a:custGeom>
              <a:avLst/>
              <a:gdLst>
                <a:gd name="T0" fmla="*/ 388 w 388"/>
                <a:gd name="T1" fmla="*/ 60 h 625"/>
                <a:gd name="T2" fmla="*/ 175 w 388"/>
                <a:gd name="T3" fmla="*/ 625 h 625"/>
                <a:gd name="T4" fmla="*/ 0 w 388"/>
                <a:gd name="T5" fmla="*/ 563 h 625"/>
                <a:gd name="T6" fmla="*/ 228 w 388"/>
                <a:gd name="T7" fmla="*/ 0 h 625"/>
                <a:gd name="T8" fmla="*/ 388 w 388"/>
                <a:gd name="T9" fmla="*/ 6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625">
                  <a:moveTo>
                    <a:pt x="388" y="60"/>
                  </a:moveTo>
                  <a:lnTo>
                    <a:pt x="175" y="625"/>
                  </a:lnTo>
                  <a:lnTo>
                    <a:pt x="0" y="563"/>
                  </a:lnTo>
                  <a:lnTo>
                    <a:pt x="228" y="0"/>
                  </a:lnTo>
                  <a:lnTo>
                    <a:pt x="388" y="6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4" name="íslïḍé">
              <a:extLst>
                <a:ext uri="{FF2B5EF4-FFF2-40B4-BE49-F238E27FC236}">
                  <a16:creationId xmlns:a16="http://schemas.microsoft.com/office/drawing/2014/main" id="{C5297C75-1A14-4ECC-B195-CA774898FAF8}"/>
                </a:ext>
              </a:extLst>
            </p:cNvPr>
            <p:cNvSpPr/>
            <p:nvPr/>
          </p:nvSpPr>
          <p:spPr bwMode="auto">
            <a:xfrm>
              <a:off x="0" y="258409"/>
              <a:ext cx="2351742" cy="1755031"/>
            </a:xfrm>
            <a:custGeom>
              <a:avLst/>
              <a:gdLst>
                <a:gd name="T0" fmla="*/ 1876 w 1876"/>
                <a:gd name="T1" fmla="*/ 763 h 1400"/>
                <a:gd name="T2" fmla="*/ 1646 w 1876"/>
                <a:gd name="T3" fmla="*/ 1400 h 1400"/>
                <a:gd name="T4" fmla="*/ 0 w 1876"/>
                <a:gd name="T5" fmla="*/ 945 h 1400"/>
                <a:gd name="T6" fmla="*/ 0 w 1876"/>
                <a:gd name="T7" fmla="*/ 0 h 1400"/>
                <a:gd name="T8" fmla="*/ 1876 w 1876"/>
                <a:gd name="T9" fmla="*/ 763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6" h="1400">
                  <a:moveTo>
                    <a:pt x="1876" y="763"/>
                  </a:moveTo>
                  <a:lnTo>
                    <a:pt x="1646" y="1400"/>
                  </a:lnTo>
                  <a:lnTo>
                    <a:pt x="0" y="945"/>
                  </a:lnTo>
                  <a:lnTo>
                    <a:pt x="0" y="0"/>
                  </a:lnTo>
                  <a:lnTo>
                    <a:pt x="1876" y="76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5" name="íşļîḋe">
              <a:extLst>
                <a:ext uri="{FF2B5EF4-FFF2-40B4-BE49-F238E27FC236}">
                  <a16:creationId xmlns:a16="http://schemas.microsoft.com/office/drawing/2014/main" id="{13E8F523-DE48-4823-A2BC-8EC3D1CA8A71}"/>
                </a:ext>
              </a:extLst>
            </p:cNvPr>
            <p:cNvSpPr/>
            <p:nvPr/>
          </p:nvSpPr>
          <p:spPr bwMode="auto">
            <a:xfrm>
              <a:off x="2003243" y="1201112"/>
              <a:ext cx="162968" cy="162968"/>
            </a:xfrm>
            <a:custGeom>
              <a:avLst/>
              <a:gdLst>
                <a:gd name="T0" fmla="*/ 6 w 129"/>
                <a:gd name="T1" fmla="*/ 78 h 130"/>
                <a:gd name="T2" fmla="*/ 77 w 129"/>
                <a:gd name="T3" fmla="*/ 123 h 130"/>
                <a:gd name="T4" fmla="*/ 123 w 129"/>
                <a:gd name="T5" fmla="*/ 53 h 130"/>
                <a:gd name="T6" fmla="*/ 52 w 129"/>
                <a:gd name="T7" fmla="*/ 7 h 130"/>
                <a:gd name="T8" fmla="*/ 6 w 129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" y="78"/>
                  </a:moveTo>
                  <a:cubicBezTo>
                    <a:pt x="13" y="110"/>
                    <a:pt x="45" y="130"/>
                    <a:pt x="77" y="123"/>
                  </a:cubicBezTo>
                  <a:cubicBezTo>
                    <a:pt x="109" y="116"/>
                    <a:pt x="129" y="85"/>
                    <a:pt x="123" y="53"/>
                  </a:cubicBezTo>
                  <a:cubicBezTo>
                    <a:pt x="116" y="21"/>
                    <a:pt x="84" y="0"/>
                    <a:pt x="52" y="7"/>
                  </a:cubicBezTo>
                  <a:cubicBezTo>
                    <a:pt x="20" y="14"/>
                    <a:pt x="0" y="45"/>
                    <a:pt x="6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6" name="îšľidé">
              <a:extLst>
                <a:ext uri="{FF2B5EF4-FFF2-40B4-BE49-F238E27FC236}">
                  <a16:creationId xmlns:a16="http://schemas.microsoft.com/office/drawing/2014/main" id="{8FD7181D-1C06-46B2-A18A-5CF17EC34633}"/>
                </a:ext>
              </a:extLst>
            </p:cNvPr>
            <p:cNvSpPr/>
            <p:nvPr/>
          </p:nvSpPr>
          <p:spPr bwMode="auto">
            <a:xfrm>
              <a:off x="1708648" y="1089542"/>
              <a:ext cx="162968" cy="162968"/>
            </a:xfrm>
            <a:custGeom>
              <a:avLst/>
              <a:gdLst>
                <a:gd name="T0" fmla="*/ 7 w 130"/>
                <a:gd name="T1" fmla="*/ 78 h 130"/>
                <a:gd name="T2" fmla="*/ 77 w 130"/>
                <a:gd name="T3" fmla="*/ 123 h 130"/>
                <a:gd name="T4" fmla="*/ 123 w 130"/>
                <a:gd name="T5" fmla="*/ 53 h 130"/>
                <a:gd name="T6" fmla="*/ 52 w 130"/>
                <a:gd name="T7" fmla="*/ 7 h 130"/>
                <a:gd name="T8" fmla="*/ 7 w 130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7" y="78"/>
                  </a:moveTo>
                  <a:cubicBezTo>
                    <a:pt x="14" y="110"/>
                    <a:pt x="45" y="130"/>
                    <a:pt x="77" y="123"/>
                  </a:cubicBezTo>
                  <a:cubicBezTo>
                    <a:pt x="109" y="116"/>
                    <a:pt x="130" y="85"/>
                    <a:pt x="123" y="53"/>
                  </a:cubicBezTo>
                  <a:cubicBezTo>
                    <a:pt x="116" y="21"/>
                    <a:pt x="85" y="0"/>
                    <a:pt x="52" y="7"/>
                  </a:cubicBezTo>
                  <a:cubicBezTo>
                    <a:pt x="20" y="14"/>
                    <a:pt x="0" y="45"/>
                    <a:pt x="7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7" name="íšḻïḍè">
              <a:extLst>
                <a:ext uri="{FF2B5EF4-FFF2-40B4-BE49-F238E27FC236}">
                  <a16:creationId xmlns:a16="http://schemas.microsoft.com/office/drawing/2014/main" id="{0D9D54A8-A4D1-47C6-B8E6-A347DBB56282}"/>
                </a:ext>
              </a:extLst>
            </p:cNvPr>
            <p:cNvSpPr/>
            <p:nvPr/>
          </p:nvSpPr>
          <p:spPr bwMode="auto">
            <a:xfrm>
              <a:off x="1406532" y="969197"/>
              <a:ext cx="164221" cy="164221"/>
            </a:xfrm>
            <a:custGeom>
              <a:avLst/>
              <a:gdLst>
                <a:gd name="T0" fmla="*/ 7 w 130"/>
                <a:gd name="T1" fmla="*/ 78 h 130"/>
                <a:gd name="T2" fmla="*/ 78 w 130"/>
                <a:gd name="T3" fmla="*/ 123 h 130"/>
                <a:gd name="T4" fmla="*/ 123 w 130"/>
                <a:gd name="T5" fmla="*/ 53 h 130"/>
                <a:gd name="T6" fmla="*/ 53 w 130"/>
                <a:gd name="T7" fmla="*/ 7 h 130"/>
                <a:gd name="T8" fmla="*/ 7 w 130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7" y="78"/>
                  </a:moveTo>
                  <a:cubicBezTo>
                    <a:pt x="14" y="110"/>
                    <a:pt x="46" y="130"/>
                    <a:pt x="78" y="123"/>
                  </a:cubicBezTo>
                  <a:cubicBezTo>
                    <a:pt x="110" y="116"/>
                    <a:pt x="130" y="85"/>
                    <a:pt x="123" y="53"/>
                  </a:cubicBezTo>
                  <a:cubicBezTo>
                    <a:pt x="117" y="21"/>
                    <a:pt x="85" y="0"/>
                    <a:pt x="53" y="7"/>
                  </a:cubicBezTo>
                  <a:cubicBezTo>
                    <a:pt x="21" y="14"/>
                    <a:pt x="0" y="46"/>
                    <a:pt x="7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8" name="iṧḷíḓé">
              <a:extLst>
                <a:ext uri="{FF2B5EF4-FFF2-40B4-BE49-F238E27FC236}">
                  <a16:creationId xmlns:a16="http://schemas.microsoft.com/office/drawing/2014/main" id="{6B505512-AFDB-44EB-92EA-B03C83F4B2AE}"/>
                </a:ext>
              </a:extLst>
            </p:cNvPr>
            <p:cNvSpPr/>
            <p:nvPr/>
          </p:nvSpPr>
          <p:spPr bwMode="auto">
            <a:xfrm>
              <a:off x="2373053" y="2151336"/>
              <a:ext cx="1449155" cy="1327556"/>
            </a:xfrm>
            <a:custGeom>
              <a:avLst/>
              <a:gdLst>
                <a:gd name="T0" fmla="*/ 704 w 1154"/>
                <a:gd name="T1" fmla="*/ 163 h 1058"/>
                <a:gd name="T2" fmla="*/ 230 w 1154"/>
                <a:gd name="T3" fmla="*/ 629 h 1058"/>
                <a:gd name="T4" fmla="*/ 704 w 1154"/>
                <a:gd name="T5" fmla="*/ 163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4" h="1058">
                  <a:moveTo>
                    <a:pt x="704" y="163"/>
                  </a:moveTo>
                  <a:cubicBezTo>
                    <a:pt x="432" y="0"/>
                    <a:pt x="0" y="347"/>
                    <a:pt x="230" y="629"/>
                  </a:cubicBezTo>
                  <a:cubicBezTo>
                    <a:pt x="579" y="1058"/>
                    <a:pt x="1154" y="441"/>
                    <a:pt x="704" y="163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9" name="ïŝḷiḍè">
              <a:extLst>
                <a:ext uri="{FF2B5EF4-FFF2-40B4-BE49-F238E27FC236}">
                  <a16:creationId xmlns:a16="http://schemas.microsoft.com/office/drawing/2014/main" id="{A69F3AD7-A84A-43AE-BF0E-0B166694BEA0}"/>
                </a:ext>
              </a:extLst>
            </p:cNvPr>
            <p:cNvSpPr/>
            <p:nvPr/>
          </p:nvSpPr>
          <p:spPr bwMode="auto">
            <a:xfrm>
              <a:off x="2373053" y="2104953"/>
              <a:ext cx="1449155" cy="1328809"/>
            </a:xfrm>
            <a:custGeom>
              <a:avLst/>
              <a:gdLst>
                <a:gd name="T0" fmla="*/ 704 w 1154"/>
                <a:gd name="T1" fmla="*/ 164 h 1059"/>
                <a:gd name="T2" fmla="*/ 230 w 1154"/>
                <a:gd name="T3" fmla="*/ 630 h 1059"/>
                <a:gd name="T4" fmla="*/ 704 w 1154"/>
                <a:gd name="T5" fmla="*/ 164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4" h="1059">
                  <a:moveTo>
                    <a:pt x="704" y="164"/>
                  </a:moveTo>
                  <a:cubicBezTo>
                    <a:pt x="432" y="0"/>
                    <a:pt x="0" y="348"/>
                    <a:pt x="230" y="630"/>
                  </a:cubicBezTo>
                  <a:cubicBezTo>
                    <a:pt x="579" y="1059"/>
                    <a:pt x="1154" y="442"/>
                    <a:pt x="704" y="16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0" name="išḻïde">
              <a:extLst>
                <a:ext uri="{FF2B5EF4-FFF2-40B4-BE49-F238E27FC236}">
                  <a16:creationId xmlns:a16="http://schemas.microsoft.com/office/drawing/2014/main" id="{4D4F9D09-38B9-4441-90BA-02277161810C}"/>
                </a:ext>
              </a:extLst>
            </p:cNvPr>
            <p:cNvSpPr/>
            <p:nvPr/>
          </p:nvSpPr>
          <p:spPr bwMode="auto">
            <a:xfrm>
              <a:off x="2895803" y="2388265"/>
              <a:ext cx="234422" cy="567879"/>
            </a:xfrm>
            <a:custGeom>
              <a:avLst/>
              <a:gdLst>
                <a:gd name="T0" fmla="*/ 110 w 187"/>
                <a:gd name="T1" fmla="*/ 30 h 452"/>
                <a:gd name="T2" fmla="*/ 113 w 187"/>
                <a:gd name="T3" fmla="*/ 62 h 452"/>
                <a:gd name="T4" fmla="*/ 124 w 187"/>
                <a:gd name="T5" fmla="*/ 78 h 452"/>
                <a:gd name="T6" fmla="*/ 170 w 187"/>
                <a:gd name="T7" fmla="*/ 94 h 452"/>
                <a:gd name="T8" fmla="*/ 173 w 187"/>
                <a:gd name="T9" fmla="*/ 102 h 452"/>
                <a:gd name="T10" fmla="*/ 163 w 187"/>
                <a:gd name="T11" fmla="*/ 113 h 452"/>
                <a:gd name="T12" fmla="*/ 154 w 187"/>
                <a:gd name="T13" fmla="*/ 109 h 452"/>
                <a:gd name="T14" fmla="*/ 112 w 187"/>
                <a:gd name="T15" fmla="*/ 107 h 452"/>
                <a:gd name="T16" fmla="*/ 111 w 187"/>
                <a:gd name="T17" fmla="*/ 147 h 452"/>
                <a:gd name="T18" fmla="*/ 109 w 187"/>
                <a:gd name="T19" fmla="*/ 176 h 452"/>
                <a:gd name="T20" fmla="*/ 165 w 187"/>
                <a:gd name="T21" fmla="*/ 200 h 452"/>
                <a:gd name="T22" fmla="*/ 187 w 187"/>
                <a:gd name="T23" fmla="*/ 255 h 452"/>
                <a:gd name="T24" fmla="*/ 164 w 187"/>
                <a:gd name="T25" fmla="*/ 320 h 452"/>
                <a:gd name="T26" fmla="*/ 108 w 187"/>
                <a:gd name="T27" fmla="*/ 360 h 452"/>
                <a:gd name="T28" fmla="*/ 109 w 187"/>
                <a:gd name="T29" fmla="*/ 388 h 452"/>
                <a:gd name="T30" fmla="*/ 115 w 187"/>
                <a:gd name="T31" fmla="*/ 431 h 452"/>
                <a:gd name="T32" fmla="*/ 116 w 187"/>
                <a:gd name="T33" fmla="*/ 445 h 452"/>
                <a:gd name="T34" fmla="*/ 105 w 187"/>
                <a:gd name="T35" fmla="*/ 452 h 452"/>
                <a:gd name="T36" fmla="*/ 96 w 187"/>
                <a:gd name="T37" fmla="*/ 443 h 452"/>
                <a:gd name="T38" fmla="*/ 90 w 187"/>
                <a:gd name="T39" fmla="*/ 394 h 452"/>
                <a:gd name="T40" fmla="*/ 86 w 187"/>
                <a:gd name="T41" fmla="*/ 365 h 452"/>
                <a:gd name="T42" fmla="*/ 77 w 187"/>
                <a:gd name="T43" fmla="*/ 366 h 452"/>
                <a:gd name="T44" fmla="*/ 37 w 187"/>
                <a:gd name="T45" fmla="*/ 350 h 452"/>
                <a:gd name="T46" fmla="*/ 13 w 187"/>
                <a:gd name="T47" fmla="*/ 317 h 452"/>
                <a:gd name="T48" fmla="*/ 8 w 187"/>
                <a:gd name="T49" fmla="*/ 310 h 452"/>
                <a:gd name="T50" fmla="*/ 5 w 187"/>
                <a:gd name="T51" fmla="*/ 302 h 452"/>
                <a:gd name="T52" fmla="*/ 0 w 187"/>
                <a:gd name="T53" fmla="*/ 293 h 452"/>
                <a:gd name="T54" fmla="*/ 9 w 187"/>
                <a:gd name="T55" fmla="*/ 285 h 452"/>
                <a:gd name="T56" fmla="*/ 20 w 187"/>
                <a:gd name="T57" fmla="*/ 292 h 452"/>
                <a:gd name="T58" fmla="*/ 28 w 187"/>
                <a:gd name="T59" fmla="*/ 304 h 452"/>
                <a:gd name="T60" fmla="*/ 51 w 187"/>
                <a:gd name="T61" fmla="*/ 331 h 452"/>
                <a:gd name="T62" fmla="*/ 84 w 187"/>
                <a:gd name="T63" fmla="*/ 342 h 452"/>
                <a:gd name="T64" fmla="*/ 83 w 187"/>
                <a:gd name="T65" fmla="*/ 298 h 452"/>
                <a:gd name="T66" fmla="*/ 82 w 187"/>
                <a:gd name="T67" fmla="*/ 195 h 452"/>
                <a:gd name="T68" fmla="*/ 69 w 187"/>
                <a:gd name="T69" fmla="*/ 193 h 452"/>
                <a:gd name="T70" fmla="*/ 38 w 187"/>
                <a:gd name="T71" fmla="*/ 183 h 452"/>
                <a:gd name="T72" fmla="*/ 36 w 187"/>
                <a:gd name="T73" fmla="*/ 155 h 452"/>
                <a:gd name="T74" fmla="*/ 62 w 187"/>
                <a:gd name="T75" fmla="*/ 120 h 452"/>
                <a:gd name="T76" fmla="*/ 77 w 187"/>
                <a:gd name="T77" fmla="*/ 105 h 452"/>
                <a:gd name="T78" fmla="*/ 86 w 187"/>
                <a:gd name="T79" fmla="*/ 73 h 452"/>
                <a:gd name="T80" fmla="*/ 86 w 187"/>
                <a:gd name="T81" fmla="*/ 38 h 452"/>
                <a:gd name="T82" fmla="*/ 85 w 187"/>
                <a:gd name="T83" fmla="*/ 12 h 452"/>
                <a:gd name="T84" fmla="*/ 98 w 187"/>
                <a:gd name="T85" fmla="*/ 0 h 452"/>
                <a:gd name="T86" fmla="*/ 109 w 187"/>
                <a:gd name="T87" fmla="*/ 9 h 452"/>
                <a:gd name="T88" fmla="*/ 70 w 187"/>
                <a:gd name="T89" fmla="*/ 149 h 452"/>
                <a:gd name="T90" fmla="*/ 72 w 187"/>
                <a:gd name="T91" fmla="*/ 169 h 452"/>
                <a:gd name="T92" fmla="*/ 84 w 187"/>
                <a:gd name="T93" fmla="*/ 150 h 452"/>
                <a:gd name="T94" fmla="*/ 83 w 187"/>
                <a:gd name="T95" fmla="*/ 134 h 452"/>
                <a:gd name="T96" fmla="*/ 157 w 187"/>
                <a:gd name="T97" fmla="*/ 229 h 452"/>
                <a:gd name="T98" fmla="*/ 128 w 187"/>
                <a:gd name="T99" fmla="*/ 203 h 452"/>
                <a:gd name="T100" fmla="*/ 109 w 187"/>
                <a:gd name="T101" fmla="*/ 225 h 452"/>
                <a:gd name="T102" fmla="*/ 108 w 187"/>
                <a:gd name="T103" fmla="*/ 256 h 452"/>
                <a:gd name="T104" fmla="*/ 107 w 187"/>
                <a:gd name="T105" fmla="*/ 297 h 452"/>
                <a:gd name="T106" fmla="*/ 129 w 187"/>
                <a:gd name="T107" fmla="*/ 323 h 452"/>
                <a:gd name="T108" fmla="*/ 158 w 187"/>
                <a:gd name="T109" fmla="*/ 279 h 452"/>
                <a:gd name="T110" fmla="*/ 162 w 187"/>
                <a:gd name="T111" fmla="*/ 248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7" h="452">
                  <a:moveTo>
                    <a:pt x="109" y="9"/>
                  </a:moveTo>
                  <a:cubicBezTo>
                    <a:pt x="109" y="17"/>
                    <a:pt x="110" y="24"/>
                    <a:pt x="110" y="30"/>
                  </a:cubicBezTo>
                  <a:cubicBezTo>
                    <a:pt x="111" y="36"/>
                    <a:pt x="112" y="42"/>
                    <a:pt x="112" y="47"/>
                  </a:cubicBezTo>
                  <a:cubicBezTo>
                    <a:pt x="112" y="52"/>
                    <a:pt x="113" y="57"/>
                    <a:pt x="113" y="62"/>
                  </a:cubicBezTo>
                  <a:cubicBezTo>
                    <a:pt x="113" y="68"/>
                    <a:pt x="113" y="74"/>
                    <a:pt x="113" y="81"/>
                  </a:cubicBezTo>
                  <a:cubicBezTo>
                    <a:pt x="117" y="80"/>
                    <a:pt x="120" y="79"/>
                    <a:pt x="124" y="78"/>
                  </a:cubicBezTo>
                  <a:cubicBezTo>
                    <a:pt x="127" y="78"/>
                    <a:pt x="130" y="77"/>
                    <a:pt x="134" y="77"/>
                  </a:cubicBezTo>
                  <a:cubicBezTo>
                    <a:pt x="147" y="77"/>
                    <a:pt x="159" y="83"/>
                    <a:pt x="170" y="94"/>
                  </a:cubicBezTo>
                  <a:cubicBezTo>
                    <a:pt x="170" y="93"/>
                    <a:pt x="170" y="93"/>
                    <a:pt x="170" y="93"/>
                  </a:cubicBezTo>
                  <a:cubicBezTo>
                    <a:pt x="172" y="96"/>
                    <a:pt x="173" y="99"/>
                    <a:pt x="173" y="102"/>
                  </a:cubicBezTo>
                  <a:cubicBezTo>
                    <a:pt x="173" y="105"/>
                    <a:pt x="172" y="108"/>
                    <a:pt x="170" y="110"/>
                  </a:cubicBezTo>
                  <a:cubicBezTo>
                    <a:pt x="168" y="112"/>
                    <a:pt x="166" y="113"/>
                    <a:pt x="163" y="113"/>
                  </a:cubicBezTo>
                  <a:cubicBezTo>
                    <a:pt x="160" y="113"/>
                    <a:pt x="157" y="112"/>
                    <a:pt x="154" y="109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7" y="103"/>
                    <a:pt x="140" y="100"/>
                    <a:pt x="133" y="100"/>
                  </a:cubicBezTo>
                  <a:cubicBezTo>
                    <a:pt x="126" y="100"/>
                    <a:pt x="119" y="102"/>
                    <a:pt x="112" y="107"/>
                  </a:cubicBezTo>
                  <a:cubicBezTo>
                    <a:pt x="112" y="115"/>
                    <a:pt x="112" y="123"/>
                    <a:pt x="112" y="129"/>
                  </a:cubicBezTo>
                  <a:cubicBezTo>
                    <a:pt x="111" y="136"/>
                    <a:pt x="111" y="141"/>
                    <a:pt x="111" y="147"/>
                  </a:cubicBezTo>
                  <a:cubicBezTo>
                    <a:pt x="111" y="152"/>
                    <a:pt x="110" y="157"/>
                    <a:pt x="110" y="161"/>
                  </a:cubicBezTo>
                  <a:cubicBezTo>
                    <a:pt x="110" y="166"/>
                    <a:pt x="109" y="171"/>
                    <a:pt x="109" y="176"/>
                  </a:cubicBezTo>
                  <a:cubicBezTo>
                    <a:pt x="121" y="178"/>
                    <a:pt x="131" y="181"/>
                    <a:pt x="141" y="184"/>
                  </a:cubicBezTo>
                  <a:cubicBezTo>
                    <a:pt x="150" y="188"/>
                    <a:pt x="159" y="194"/>
                    <a:pt x="165" y="200"/>
                  </a:cubicBezTo>
                  <a:cubicBezTo>
                    <a:pt x="172" y="207"/>
                    <a:pt x="177" y="214"/>
                    <a:pt x="181" y="224"/>
                  </a:cubicBezTo>
                  <a:cubicBezTo>
                    <a:pt x="185" y="233"/>
                    <a:pt x="187" y="243"/>
                    <a:pt x="187" y="255"/>
                  </a:cubicBezTo>
                  <a:cubicBezTo>
                    <a:pt x="187" y="267"/>
                    <a:pt x="185" y="279"/>
                    <a:pt x="181" y="290"/>
                  </a:cubicBezTo>
                  <a:cubicBezTo>
                    <a:pt x="177" y="301"/>
                    <a:pt x="171" y="311"/>
                    <a:pt x="164" y="320"/>
                  </a:cubicBezTo>
                  <a:cubicBezTo>
                    <a:pt x="157" y="329"/>
                    <a:pt x="149" y="338"/>
                    <a:pt x="139" y="344"/>
                  </a:cubicBezTo>
                  <a:cubicBezTo>
                    <a:pt x="130" y="351"/>
                    <a:pt x="119" y="357"/>
                    <a:pt x="108" y="360"/>
                  </a:cubicBezTo>
                  <a:cubicBezTo>
                    <a:pt x="108" y="366"/>
                    <a:pt x="108" y="371"/>
                    <a:pt x="108" y="375"/>
                  </a:cubicBezTo>
                  <a:cubicBezTo>
                    <a:pt x="109" y="379"/>
                    <a:pt x="109" y="383"/>
                    <a:pt x="109" y="388"/>
                  </a:cubicBezTo>
                  <a:cubicBezTo>
                    <a:pt x="110" y="392"/>
                    <a:pt x="110" y="398"/>
                    <a:pt x="111" y="404"/>
                  </a:cubicBezTo>
                  <a:cubicBezTo>
                    <a:pt x="112" y="411"/>
                    <a:pt x="113" y="420"/>
                    <a:pt x="115" y="431"/>
                  </a:cubicBezTo>
                  <a:cubicBezTo>
                    <a:pt x="115" y="434"/>
                    <a:pt x="115" y="436"/>
                    <a:pt x="115" y="438"/>
                  </a:cubicBezTo>
                  <a:cubicBezTo>
                    <a:pt x="116" y="440"/>
                    <a:pt x="116" y="442"/>
                    <a:pt x="116" y="445"/>
                  </a:cubicBezTo>
                  <a:cubicBezTo>
                    <a:pt x="116" y="447"/>
                    <a:pt x="115" y="449"/>
                    <a:pt x="112" y="450"/>
                  </a:cubicBezTo>
                  <a:cubicBezTo>
                    <a:pt x="109" y="452"/>
                    <a:pt x="107" y="452"/>
                    <a:pt x="105" y="452"/>
                  </a:cubicBezTo>
                  <a:cubicBezTo>
                    <a:pt x="103" y="452"/>
                    <a:pt x="101" y="452"/>
                    <a:pt x="99" y="450"/>
                  </a:cubicBezTo>
                  <a:cubicBezTo>
                    <a:pt x="97" y="449"/>
                    <a:pt x="96" y="446"/>
                    <a:pt x="96" y="443"/>
                  </a:cubicBezTo>
                  <a:cubicBezTo>
                    <a:pt x="94" y="431"/>
                    <a:pt x="93" y="422"/>
                    <a:pt x="92" y="414"/>
                  </a:cubicBezTo>
                  <a:cubicBezTo>
                    <a:pt x="91" y="406"/>
                    <a:pt x="91" y="400"/>
                    <a:pt x="90" y="394"/>
                  </a:cubicBezTo>
                  <a:cubicBezTo>
                    <a:pt x="89" y="389"/>
                    <a:pt x="89" y="384"/>
                    <a:pt x="88" y="379"/>
                  </a:cubicBezTo>
                  <a:cubicBezTo>
                    <a:pt x="88" y="375"/>
                    <a:pt x="87" y="370"/>
                    <a:pt x="86" y="365"/>
                  </a:cubicBezTo>
                  <a:cubicBezTo>
                    <a:pt x="85" y="366"/>
                    <a:pt x="84" y="366"/>
                    <a:pt x="82" y="366"/>
                  </a:cubicBezTo>
                  <a:cubicBezTo>
                    <a:pt x="80" y="366"/>
                    <a:pt x="79" y="366"/>
                    <a:pt x="77" y="366"/>
                  </a:cubicBezTo>
                  <a:cubicBezTo>
                    <a:pt x="68" y="366"/>
                    <a:pt x="60" y="365"/>
                    <a:pt x="54" y="361"/>
                  </a:cubicBezTo>
                  <a:cubicBezTo>
                    <a:pt x="47" y="358"/>
                    <a:pt x="42" y="354"/>
                    <a:pt x="37" y="350"/>
                  </a:cubicBezTo>
                  <a:cubicBezTo>
                    <a:pt x="32" y="345"/>
                    <a:pt x="27" y="340"/>
                    <a:pt x="23" y="334"/>
                  </a:cubicBezTo>
                  <a:cubicBezTo>
                    <a:pt x="20" y="328"/>
                    <a:pt x="16" y="322"/>
                    <a:pt x="13" y="317"/>
                  </a:cubicBezTo>
                  <a:cubicBezTo>
                    <a:pt x="13" y="317"/>
                    <a:pt x="13" y="317"/>
                    <a:pt x="13" y="317"/>
                  </a:cubicBezTo>
                  <a:cubicBezTo>
                    <a:pt x="11" y="314"/>
                    <a:pt x="10" y="312"/>
                    <a:pt x="8" y="310"/>
                  </a:cubicBezTo>
                  <a:cubicBezTo>
                    <a:pt x="7" y="307"/>
                    <a:pt x="6" y="305"/>
                    <a:pt x="5" y="303"/>
                  </a:cubicBezTo>
                  <a:cubicBezTo>
                    <a:pt x="5" y="302"/>
                    <a:pt x="5" y="302"/>
                    <a:pt x="5" y="302"/>
                  </a:cubicBezTo>
                  <a:cubicBezTo>
                    <a:pt x="3" y="301"/>
                    <a:pt x="2" y="300"/>
                    <a:pt x="1" y="298"/>
                  </a:cubicBezTo>
                  <a:cubicBezTo>
                    <a:pt x="0" y="296"/>
                    <a:pt x="0" y="294"/>
                    <a:pt x="0" y="293"/>
                  </a:cubicBezTo>
                  <a:cubicBezTo>
                    <a:pt x="0" y="291"/>
                    <a:pt x="1" y="289"/>
                    <a:pt x="2" y="287"/>
                  </a:cubicBezTo>
                  <a:cubicBezTo>
                    <a:pt x="4" y="286"/>
                    <a:pt x="6" y="285"/>
                    <a:pt x="9" y="285"/>
                  </a:cubicBezTo>
                  <a:cubicBezTo>
                    <a:pt x="11" y="285"/>
                    <a:pt x="13" y="286"/>
                    <a:pt x="15" y="287"/>
                  </a:cubicBezTo>
                  <a:cubicBezTo>
                    <a:pt x="17" y="288"/>
                    <a:pt x="18" y="290"/>
                    <a:pt x="20" y="292"/>
                  </a:cubicBezTo>
                  <a:cubicBezTo>
                    <a:pt x="22" y="294"/>
                    <a:pt x="23" y="296"/>
                    <a:pt x="24" y="298"/>
                  </a:cubicBezTo>
                  <a:cubicBezTo>
                    <a:pt x="26" y="301"/>
                    <a:pt x="27" y="302"/>
                    <a:pt x="28" y="304"/>
                  </a:cubicBezTo>
                  <a:cubicBezTo>
                    <a:pt x="32" y="309"/>
                    <a:pt x="36" y="314"/>
                    <a:pt x="39" y="319"/>
                  </a:cubicBezTo>
                  <a:cubicBezTo>
                    <a:pt x="43" y="323"/>
                    <a:pt x="47" y="327"/>
                    <a:pt x="51" y="331"/>
                  </a:cubicBezTo>
                  <a:cubicBezTo>
                    <a:pt x="55" y="334"/>
                    <a:pt x="60" y="337"/>
                    <a:pt x="65" y="339"/>
                  </a:cubicBezTo>
                  <a:cubicBezTo>
                    <a:pt x="70" y="341"/>
                    <a:pt x="77" y="342"/>
                    <a:pt x="84" y="342"/>
                  </a:cubicBezTo>
                  <a:cubicBezTo>
                    <a:pt x="83" y="337"/>
                    <a:pt x="83" y="331"/>
                    <a:pt x="83" y="324"/>
                  </a:cubicBezTo>
                  <a:cubicBezTo>
                    <a:pt x="83" y="318"/>
                    <a:pt x="83" y="309"/>
                    <a:pt x="83" y="298"/>
                  </a:cubicBezTo>
                  <a:cubicBezTo>
                    <a:pt x="82" y="288"/>
                    <a:pt x="82" y="274"/>
                    <a:pt x="82" y="258"/>
                  </a:cubicBezTo>
                  <a:cubicBezTo>
                    <a:pt x="82" y="241"/>
                    <a:pt x="82" y="220"/>
                    <a:pt x="82" y="195"/>
                  </a:cubicBezTo>
                  <a:cubicBezTo>
                    <a:pt x="82" y="195"/>
                    <a:pt x="82" y="195"/>
                    <a:pt x="82" y="195"/>
                  </a:cubicBezTo>
                  <a:cubicBezTo>
                    <a:pt x="79" y="194"/>
                    <a:pt x="75" y="194"/>
                    <a:pt x="69" y="193"/>
                  </a:cubicBezTo>
                  <a:cubicBezTo>
                    <a:pt x="64" y="192"/>
                    <a:pt x="58" y="190"/>
                    <a:pt x="53" y="189"/>
                  </a:cubicBezTo>
                  <a:cubicBezTo>
                    <a:pt x="47" y="187"/>
                    <a:pt x="42" y="185"/>
                    <a:pt x="38" y="183"/>
                  </a:cubicBezTo>
                  <a:cubicBezTo>
                    <a:pt x="34" y="180"/>
                    <a:pt x="32" y="178"/>
                    <a:pt x="32" y="174"/>
                  </a:cubicBezTo>
                  <a:cubicBezTo>
                    <a:pt x="32" y="168"/>
                    <a:pt x="34" y="162"/>
                    <a:pt x="36" y="155"/>
                  </a:cubicBezTo>
                  <a:cubicBezTo>
                    <a:pt x="39" y="149"/>
                    <a:pt x="43" y="143"/>
                    <a:pt x="47" y="137"/>
                  </a:cubicBezTo>
                  <a:cubicBezTo>
                    <a:pt x="52" y="131"/>
                    <a:pt x="57" y="125"/>
                    <a:pt x="62" y="120"/>
                  </a:cubicBezTo>
                  <a:cubicBezTo>
                    <a:pt x="67" y="115"/>
                    <a:pt x="73" y="110"/>
                    <a:pt x="78" y="105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87"/>
                    <a:pt x="86" y="79"/>
                    <a:pt x="86" y="73"/>
                  </a:cubicBezTo>
                  <a:cubicBezTo>
                    <a:pt x="86" y="67"/>
                    <a:pt x="86" y="61"/>
                    <a:pt x="86" y="56"/>
                  </a:cubicBezTo>
                  <a:cubicBezTo>
                    <a:pt x="86" y="50"/>
                    <a:pt x="86" y="44"/>
                    <a:pt x="86" y="38"/>
                  </a:cubicBezTo>
                  <a:cubicBezTo>
                    <a:pt x="85" y="32"/>
                    <a:pt x="85" y="24"/>
                    <a:pt x="85" y="15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8"/>
                    <a:pt x="86" y="5"/>
                    <a:pt x="89" y="3"/>
                  </a:cubicBezTo>
                  <a:cubicBezTo>
                    <a:pt x="91" y="1"/>
                    <a:pt x="94" y="0"/>
                    <a:pt x="98" y="0"/>
                  </a:cubicBezTo>
                  <a:cubicBezTo>
                    <a:pt x="100" y="0"/>
                    <a:pt x="102" y="0"/>
                    <a:pt x="104" y="2"/>
                  </a:cubicBezTo>
                  <a:cubicBezTo>
                    <a:pt x="106" y="3"/>
                    <a:pt x="108" y="5"/>
                    <a:pt x="109" y="9"/>
                  </a:cubicBezTo>
                  <a:close/>
                  <a:moveTo>
                    <a:pt x="83" y="134"/>
                  </a:moveTo>
                  <a:cubicBezTo>
                    <a:pt x="78" y="138"/>
                    <a:pt x="74" y="144"/>
                    <a:pt x="70" y="149"/>
                  </a:cubicBezTo>
                  <a:cubicBezTo>
                    <a:pt x="65" y="154"/>
                    <a:pt x="63" y="160"/>
                    <a:pt x="62" y="166"/>
                  </a:cubicBezTo>
                  <a:cubicBezTo>
                    <a:pt x="65" y="167"/>
                    <a:pt x="68" y="168"/>
                    <a:pt x="72" y="169"/>
                  </a:cubicBezTo>
                  <a:cubicBezTo>
                    <a:pt x="75" y="169"/>
                    <a:pt x="79" y="170"/>
                    <a:pt x="82" y="171"/>
                  </a:cubicBezTo>
                  <a:cubicBezTo>
                    <a:pt x="83" y="163"/>
                    <a:pt x="83" y="156"/>
                    <a:pt x="84" y="150"/>
                  </a:cubicBezTo>
                  <a:cubicBezTo>
                    <a:pt x="84" y="145"/>
                    <a:pt x="85" y="138"/>
                    <a:pt x="85" y="131"/>
                  </a:cubicBezTo>
                  <a:cubicBezTo>
                    <a:pt x="84" y="132"/>
                    <a:pt x="83" y="133"/>
                    <a:pt x="83" y="134"/>
                  </a:cubicBezTo>
                  <a:close/>
                  <a:moveTo>
                    <a:pt x="162" y="248"/>
                  </a:moveTo>
                  <a:cubicBezTo>
                    <a:pt x="162" y="241"/>
                    <a:pt x="160" y="234"/>
                    <a:pt x="157" y="229"/>
                  </a:cubicBezTo>
                  <a:cubicBezTo>
                    <a:pt x="154" y="223"/>
                    <a:pt x="150" y="218"/>
                    <a:pt x="145" y="213"/>
                  </a:cubicBezTo>
                  <a:cubicBezTo>
                    <a:pt x="140" y="209"/>
                    <a:pt x="134" y="205"/>
                    <a:pt x="128" y="203"/>
                  </a:cubicBezTo>
                  <a:cubicBezTo>
                    <a:pt x="122" y="200"/>
                    <a:pt x="115" y="199"/>
                    <a:pt x="109" y="198"/>
                  </a:cubicBezTo>
                  <a:cubicBezTo>
                    <a:pt x="109" y="209"/>
                    <a:pt x="109" y="218"/>
                    <a:pt x="109" y="225"/>
                  </a:cubicBezTo>
                  <a:cubicBezTo>
                    <a:pt x="109" y="232"/>
                    <a:pt x="109" y="238"/>
                    <a:pt x="109" y="242"/>
                  </a:cubicBezTo>
                  <a:cubicBezTo>
                    <a:pt x="108" y="247"/>
                    <a:pt x="108" y="252"/>
                    <a:pt x="108" y="256"/>
                  </a:cubicBezTo>
                  <a:cubicBezTo>
                    <a:pt x="108" y="260"/>
                    <a:pt x="108" y="266"/>
                    <a:pt x="107" y="272"/>
                  </a:cubicBezTo>
                  <a:cubicBezTo>
                    <a:pt x="107" y="279"/>
                    <a:pt x="107" y="287"/>
                    <a:pt x="107" y="297"/>
                  </a:cubicBezTo>
                  <a:cubicBezTo>
                    <a:pt x="107" y="307"/>
                    <a:pt x="107" y="321"/>
                    <a:pt x="107" y="337"/>
                  </a:cubicBezTo>
                  <a:cubicBezTo>
                    <a:pt x="115" y="333"/>
                    <a:pt x="123" y="329"/>
                    <a:pt x="129" y="323"/>
                  </a:cubicBezTo>
                  <a:cubicBezTo>
                    <a:pt x="136" y="317"/>
                    <a:pt x="142" y="310"/>
                    <a:pt x="147" y="303"/>
                  </a:cubicBezTo>
                  <a:cubicBezTo>
                    <a:pt x="151" y="295"/>
                    <a:pt x="155" y="287"/>
                    <a:pt x="158" y="279"/>
                  </a:cubicBezTo>
                  <a:cubicBezTo>
                    <a:pt x="160" y="270"/>
                    <a:pt x="162" y="262"/>
                    <a:pt x="162" y="253"/>
                  </a:cubicBezTo>
                  <a:lnTo>
                    <a:pt x="162" y="24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1" name="ïṥḻídè">
              <a:extLst>
                <a:ext uri="{FF2B5EF4-FFF2-40B4-BE49-F238E27FC236}">
                  <a16:creationId xmlns:a16="http://schemas.microsoft.com/office/drawing/2014/main" id="{8D9C3A5D-4CD3-492D-9D71-E97C320715EB}"/>
                </a:ext>
              </a:extLst>
            </p:cNvPr>
            <p:cNvSpPr/>
            <p:nvPr/>
          </p:nvSpPr>
          <p:spPr bwMode="auto">
            <a:xfrm>
              <a:off x="2549810" y="2183929"/>
              <a:ext cx="896320" cy="885037"/>
            </a:xfrm>
            <a:custGeom>
              <a:avLst/>
              <a:gdLst>
                <a:gd name="T0" fmla="*/ 549 w 713"/>
                <a:gd name="T1" fmla="*/ 121 h 705"/>
                <a:gd name="T2" fmla="*/ 55 w 713"/>
                <a:gd name="T3" fmla="*/ 448 h 705"/>
                <a:gd name="T4" fmla="*/ 320 w 713"/>
                <a:gd name="T5" fmla="*/ 687 h 705"/>
                <a:gd name="T6" fmla="*/ 601 w 713"/>
                <a:gd name="T7" fmla="*/ 591 h 705"/>
                <a:gd name="T8" fmla="*/ 702 w 713"/>
                <a:gd name="T9" fmla="*/ 356 h 705"/>
                <a:gd name="T10" fmla="*/ 549 w 713"/>
                <a:gd name="T11" fmla="*/ 121 h 705"/>
                <a:gd name="T12" fmla="*/ 541 w 713"/>
                <a:gd name="T13" fmla="*/ 135 h 705"/>
                <a:gd name="T14" fmla="*/ 674 w 713"/>
                <a:gd name="T15" fmla="*/ 445 h 705"/>
                <a:gd name="T16" fmla="*/ 437 w 713"/>
                <a:gd name="T17" fmla="*/ 666 h 705"/>
                <a:gd name="T18" fmla="*/ 97 w 713"/>
                <a:gd name="T19" fmla="*/ 509 h 705"/>
                <a:gd name="T20" fmla="*/ 218 w 713"/>
                <a:gd name="T21" fmla="*/ 154 h 705"/>
                <a:gd name="T22" fmla="*/ 541 w 713"/>
                <a:gd name="T23" fmla="*/ 135 h 705"/>
                <a:gd name="T24" fmla="*/ 549 w 713"/>
                <a:gd name="T25" fmla="*/ 12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3" h="705">
                  <a:moveTo>
                    <a:pt x="549" y="121"/>
                  </a:moveTo>
                  <a:cubicBezTo>
                    <a:pt x="341" y="0"/>
                    <a:pt x="0" y="194"/>
                    <a:pt x="55" y="448"/>
                  </a:cubicBezTo>
                  <a:cubicBezTo>
                    <a:pt x="81" y="567"/>
                    <a:pt x="204" y="667"/>
                    <a:pt x="320" y="687"/>
                  </a:cubicBezTo>
                  <a:cubicBezTo>
                    <a:pt x="423" y="705"/>
                    <a:pt x="527" y="662"/>
                    <a:pt x="601" y="591"/>
                  </a:cubicBezTo>
                  <a:cubicBezTo>
                    <a:pt x="664" y="531"/>
                    <a:pt x="705" y="445"/>
                    <a:pt x="702" y="356"/>
                  </a:cubicBezTo>
                  <a:cubicBezTo>
                    <a:pt x="700" y="254"/>
                    <a:pt x="632" y="173"/>
                    <a:pt x="549" y="121"/>
                  </a:cubicBezTo>
                  <a:cubicBezTo>
                    <a:pt x="540" y="115"/>
                    <a:pt x="532" y="129"/>
                    <a:pt x="541" y="135"/>
                  </a:cubicBezTo>
                  <a:cubicBezTo>
                    <a:pt x="650" y="204"/>
                    <a:pt x="713" y="317"/>
                    <a:pt x="674" y="445"/>
                  </a:cubicBezTo>
                  <a:cubicBezTo>
                    <a:pt x="641" y="553"/>
                    <a:pt x="545" y="638"/>
                    <a:pt x="437" y="666"/>
                  </a:cubicBezTo>
                  <a:cubicBezTo>
                    <a:pt x="302" y="702"/>
                    <a:pt x="167" y="624"/>
                    <a:pt x="97" y="509"/>
                  </a:cubicBezTo>
                  <a:cubicBezTo>
                    <a:pt x="17" y="377"/>
                    <a:pt x="102" y="229"/>
                    <a:pt x="218" y="154"/>
                  </a:cubicBezTo>
                  <a:cubicBezTo>
                    <a:pt x="314" y="93"/>
                    <a:pt x="440" y="76"/>
                    <a:pt x="541" y="135"/>
                  </a:cubicBezTo>
                  <a:cubicBezTo>
                    <a:pt x="550" y="140"/>
                    <a:pt x="558" y="126"/>
                    <a:pt x="549" y="121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2" name="ïśľíḑê">
              <a:extLst>
                <a:ext uri="{FF2B5EF4-FFF2-40B4-BE49-F238E27FC236}">
                  <a16:creationId xmlns:a16="http://schemas.microsoft.com/office/drawing/2014/main" id="{ED1AFE63-0D7A-4E14-BAC5-F4BA66FCBFD8}"/>
                </a:ext>
              </a:extLst>
            </p:cNvPr>
            <p:cNvSpPr/>
            <p:nvPr/>
          </p:nvSpPr>
          <p:spPr bwMode="auto">
            <a:xfrm>
              <a:off x="3965118" y="2839559"/>
              <a:ext cx="488902" cy="423715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3" name="ïŝļïḓé">
              <a:extLst>
                <a:ext uri="{FF2B5EF4-FFF2-40B4-BE49-F238E27FC236}">
                  <a16:creationId xmlns:a16="http://schemas.microsoft.com/office/drawing/2014/main" id="{1052B68B-B6A7-4E52-95A9-65D86F678E31}"/>
                </a:ext>
              </a:extLst>
            </p:cNvPr>
            <p:cNvSpPr/>
            <p:nvPr/>
          </p:nvSpPr>
          <p:spPr bwMode="auto">
            <a:xfrm>
              <a:off x="3965118" y="2839559"/>
              <a:ext cx="488902" cy="4237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4" name="ïS1ïḓè">
              <a:extLst>
                <a:ext uri="{FF2B5EF4-FFF2-40B4-BE49-F238E27FC236}">
                  <a16:creationId xmlns:a16="http://schemas.microsoft.com/office/drawing/2014/main" id="{65EF6BD4-D8FC-4FC2-8B1A-97BD724A2739}"/>
                </a:ext>
              </a:extLst>
            </p:cNvPr>
            <p:cNvSpPr/>
            <p:nvPr/>
          </p:nvSpPr>
          <p:spPr bwMode="auto">
            <a:xfrm>
              <a:off x="3918736" y="2740525"/>
              <a:ext cx="581668" cy="16422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5" name="íṡľïďe">
              <a:extLst>
                <a:ext uri="{FF2B5EF4-FFF2-40B4-BE49-F238E27FC236}">
                  <a16:creationId xmlns:a16="http://schemas.microsoft.com/office/drawing/2014/main" id="{3B1944FB-121F-4354-BAB6-E6A4ADCE82CA}"/>
                </a:ext>
              </a:extLst>
            </p:cNvPr>
            <p:cNvSpPr/>
            <p:nvPr/>
          </p:nvSpPr>
          <p:spPr bwMode="auto">
            <a:xfrm>
              <a:off x="3918736" y="2740525"/>
              <a:ext cx="581668" cy="164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6" name="îṥḷîďê">
              <a:extLst>
                <a:ext uri="{FF2B5EF4-FFF2-40B4-BE49-F238E27FC236}">
                  <a16:creationId xmlns:a16="http://schemas.microsoft.com/office/drawing/2014/main" id="{ECC59C35-7B41-429D-8137-23E925F35B24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138020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7" name="íṧḷíḍè">
              <a:extLst>
                <a:ext uri="{FF2B5EF4-FFF2-40B4-BE49-F238E27FC236}">
                  <a16:creationId xmlns:a16="http://schemas.microsoft.com/office/drawing/2014/main" id="{1393EF1F-BB0D-4E31-AA81-B04D9B32AE07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1380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8" name="íṩ1iḍé">
              <a:extLst>
                <a:ext uri="{FF2B5EF4-FFF2-40B4-BE49-F238E27FC236}">
                  <a16:creationId xmlns:a16="http://schemas.microsoft.com/office/drawing/2014/main" id="{9B7E9F79-2513-4805-9ABF-B47856EBC2F5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91513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9" name="ïś1íďe">
              <a:extLst>
                <a:ext uri="{FF2B5EF4-FFF2-40B4-BE49-F238E27FC236}">
                  <a16:creationId xmlns:a16="http://schemas.microsoft.com/office/drawing/2014/main" id="{CF983835-A9EB-41A3-9B16-81CD786D6BA5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91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0" name="ïSḷídé">
              <a:extLst>
                <a:ext uri="{FF2B5EF4-FFF2-40B4-BE49-F238E27FC236}">
                  <a16:creationId xmlns:a16="http://schemas.microsoft.com/office/drawing/2014/main" id="{A189375A-0B48-44FD-B718-5383F28D87E1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2686 w 2686"/>
                <a:gd name="T1" fmla="*/ 712 h 712"/>
                <a:gd name="T2" fmla="*/ 0 w 2686"/>
                <a:gd name="T3" fmla="*/ 712 h 712"/>
                <a:gd name="T4" fmla="*/ 203 w 2686"/>
                <a:gd name="T5" fmla="*/ 0 h 712"/>
                <a:gd name="T6" fmla="*/ 2485 w 2686"/>
                <a:gd name="T7" fmla="*/ 0 h 712"/>
                <a:gd name="T8" fmla="*/ 2686 w 2686"/>
                <a:gd name="T9" fmla="*/ 71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6" h="712">
                  <a:moveTo>
                    <a:pt x="2686" y="712"/>
                  </a:moveTo>
                  <a:lnTo>
                    <a:pt x="0" y="712"/>
                  </a:lnTo>
                  <a:lnTo>
                    <a:pt x="203" y="0"/>
                  </a:lnTo>
                  <a:lnTo>
                    <a:pt x="2485" y="0"/>
                  </a:lnTo>
                  <a:lnTo>
                    <a:pt x="2686" y="71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1" name="ïsliḓê">
              <a:extLst>
                <a:ext uri="{FF2B5EF4-FFF2-40B4-BE49-F238E27FC236}">
                  <a16:creationId xmlns:a16="http://schemas.microsoft.com/office/drawing/2014/main" id="{52AE9B58-79DC-495E-A29E-0EDAA734F4C0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2686 w 2686"/>
                <a:gd name="T1" fmla="*/ 712 h 712"/>
                <a:gd name="T2" fmla="*/ 0 w 2686"/>
                <a:gd name="T3" fmla="*/ 712 h 712"/>
                <a:gd name="T4" fmla="*/ 203 w 2686"/>
                <a:gd name="T5" fmla="*/ 0 h 712"/>
                <a:gd name="T6" fmla="*/ 2485 w 2686"/>
                <a:gd name="T7" fmla="*/ 0 h 712"/>
                <a:gd name="T8" fmla="*/ 2686 w 2686"/>
                <a:gd name="T9" fmla="*/ 71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6" h="712">
                  <a:moveTo>
                    <a:pt x="2686" y="712"/>
                  </a:moveTo>
                  <a:lnTo>
                    <a:pt x="0" y="712"/>
                  </a:lnTo>
                  <a:lnTo>
                    <a:pt x="203" y="0"/>
                  </a:lnTo>
                  <a:lnTo>
                    <a:pt x="2485" y="0"/>
                  </a:lnTo>
                  <a:lnTo>
                    <a:pt x="2686" y="7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2" name="iSḷîḑê">
              <a:extLst>
                <a:ext uri="{FF2B5EF4-FFF2-40B4-BE49-F238E27FC236}">
                  <a16:creationId xmlns:a16="http://schemas.microsoft.com/office/drawing/2014/main" id="{4AB7BBAC-5370-4EC2-886C-3EA5116548C3}"/>
                </a:ext>
              </a:extLst>
            </p:cNvPr>
            <p:cNvSpPr/>
            <p:nvPr/>
          </p:nvSpPr>
          <p:spPr bwMode="auto">
            <a:xfrm>
              <a:off x="2661379" y="4332589"/>
              <a:ext cx="725832" cy="1138263"/>
            </a:xfrm>
            <a:custGeom>
              <a:avLst/>
              <a:gdLst>
                <a:gd name="T0" fmla="*/ 3 w 579"/>
                <a:gd name="T1" fmla="*/ 908 h 908"/>
                <a:gd name="T2" fmla="*/ 0 w 579"/>
                <a:gd name="T3" fmla="*/ 0 h 908"/>
                <a:gd name="T4" fmla="*/ 576 w 579"/>
                <a:gd name="T5" fmla="*/ 0 h 908"/>
                <a:gd name="T6" fmla="*/ 579 w 579"/>
                <a:gd name="T7" fmla="*/ 908 h 908"/>
                <a:gd name="T8" fmla="*/ 3 w 579"/>
                <a:gd name="T9" fmla="*/ 908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908">
                  <a:moveTo>
                    <a:pt x="3" y="908"/>
                  </a:moveTo>
                  <a:lnTo>
                    <a:pt x="0" y="0"/>
                  </a:lnTo>
                  <a:lnTo>
                    <a:pt x="576" y="0"/>
                  </a:lnTo>
                  <a:lnTo>
                    <a:pt x="579" y="908"/>
                  </a:lnTo>
                  <a:lnTo>
                    <a:pt x="3" y="90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3" name="ïṩļîḑè">
              <a:extLst>
                <a:ext uri="{FF2B5EF4-FFF2-40B4-BE49-F238E27FC236}">
                  <a16:creationId xmlns:a16="http://schemas.microsoft.com/office/drawing/2014/main" id="{8D6A0923-004F-4522-BDFC-02A8DCD0E457}"/>
                </a:ext>
              </a:extLst>
            </p:cNvPr>
            <p:cNvSpPr/>
            <p:nvPr/>
          </p:nvSpPr>
          <p:spPr bwMode="auto">
            <a:xfrm>
              <a:off x="2661379" y="4332589"/>
              <a:ext cx="725832" cy="1138263"/>
            </a:xfrm>
            <a:custGeom>
              <a:avLst/>
              <a:gdLst>
                <a:gd name="T0" fmla="*/ 3 w 579"/>
                <a:gd name="T1" fmla="*/ 908 h 908"/>
                <a:gd name="T2" fmla="*/ 0 w 579"/>
                <a:gd name="T3" fmla="*/ 0 h 908"/>
                <a:gd name="T4" fmla="*/ 576 w 579"/>
                <a:gd name="T5" fmla="*/ 0 h 908"/>
                <a:gd name="T6" fmla="*/ 579 w 579"/>
                <a:gd name="T7" fmla="*/ 908 h 908"/>
                <a:gd name="T8" fmla="*/ 3 w 579"/>
                <a:gd name="T9" fmla="*/ 908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908">
                  <a:moveTo>
                    <a:pt x="3" y="908"/>
                  </a:moveTo>
                  <a:lnTo>
                    <a:pt x="0" y="0"/>
                  </a:lnTo>
                  <a:lnTo>
                    <a:pt x="576" y="0"/>
                  </a:lnTo>
                  <a:lnTo>
                    <a:pt x="579" y="908"/>
                  </a:lnTo>
                  <a:lnTo>
                    <a:pt x="3" y="90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4" name="íśḻïdé">
              <a:extLst>
                <a:ext uri="{FF2B5EF4-FFF2-40B4-BE49-F238E27FC236}">
                  <a16:creationId xmlns:a16="http://schemas.microsoft.com/office/drawing/2014/main" id="{5352F485-17B9-48D9-A828-7F0E4060D40A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5" name="iśḷîḓê">
              <a:extLst>
                <a:ext uri="{FF2B5EF4-FFF2-40B4-BE49-F238E27FC236}">
                  <a16:creationId xmlns:a16="http://schemas.microsoft.com/office/drawing/2014/main" id="{B9B79491-4B62-42AC-8829-3EC33BC256DC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6" name="išḷiḑè">
              <a:extLst>
                <a:ext uri="{FF2B5EF4-FFF2-40B4-BE49-F238E27FC236}">
                  <a16:creationId xmlns:a16="http://schemas.microsoft.com/office/drawing/2014/main" id="{A6B100AB-CC4F-4C8B-9712-90DA786B531F}"/>
                </a:ext>
              </a:extLst>
            </p:cNvPr>
            <p:cNvSpPr/>
            <p:nvPr/>
          </p:nvSpPr>
          <p:spPr bwMode="auto">
            <a:xfrm>
              <a:off x="1857826" y="4466724"/>
              <a:ext cx="487648" cy="759677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7" name="isḷiďè">
              <a:extLst>
                <a:ext uri="{FF2B5EF4-FFF2-40B4-BE49-F238E27FC236}">
                  <a16:creationId xmlns:a16="http://schemas.microsoft.com/office/drawing/2014/main" id="{78064FF8-B58C-49DC-ACAE-111F55D0026F}"/>
                </a:ext>
              </a:extLst>
            </p:cNvPr>
            <p:cNvSpPr/>
            <p:nvPr/>
          </p:nvSpPr>
          <p:spPr bwMode="auto">
            <a:xfrm>
              <a:off x="3699356" y="4466724"/>
              <a:ext cx="487648" cy="759677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8" name="ïsḷiḍè">
              <a:extLst>
                <a:ext uri="{FF2B5EF4-FFF2-40B4-BE49-F238E27FC236}">
                  <a16:creationId xmlns:a16="http://schemas.microsoft.com/office/drawing/2014/main" id="{2BDFE74A-3AB7-426B-808D-EE31A078553A}"/>
                </a:ext>
              </a:extLst>
            </p:cNvPr>
            <p:cNvSpPr/>
            <p:nvPr/>
          </p:nvSpPr>
          <p:spPr bwMode="auto">
            <a:xfrm>
              <a:off x="2093502" y="4444158"/>
              <a:ext cx="16297" cy="804808"/>
            </a:xfrm>
            <a:prstGeom prst="rect">
              <a:avLst/>
            </a:prstGeom>
            <a:solidFill>
              <a:srgbClr val="403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9" name="îṡľíḋê">
              <a:extLst>
                <a:ext uri="{FF2B5EF4-FFF2-40B4-BE49-F238E27FC236}">
                  <a16:creationId xmlns:a16="http://schemas.microsoft.com/office/drawing/2014/main" id="{97006284-EFC9-4BB7-9A92-D6BB2B42A026}"/>
                </a:ext>
              </a:extLst>
            </p:cNvPr>
            <p:cNvSpPr/>
            <p:nvPr/>
          </p:nvSpPr>
          <p:spPr bwMode="auto">
            <a:xfrm>
              <a:off x="2093502" y="4444158"/>
              <a:ext cx="16297" cy="804808"/>
            </a:xfrm>
            <a:custGeom>
              <a:avLst/>
              <a:gdLst>
                <a:gd name="T0" fmla="*/ 13 w 13"/>
                <a:gd name="T1" fmla="*/ 642 h 642"/>
                <a:gd name="T2" fmla="*/ 13 w 13"/>
                <a:gd name="T3" fmla="*/ 0 h 642"/>
                <a:gd name="T4" fmla="*/ 0 w 13"/>
                <a:gd name="T5" fmla="*/ 0 h 642"/>
                <a:gd name="T6" fmla="*/ 0 w 13"/>
                <a:gd name="T7" fmla="*/ 6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642">
                  <a:moveTo>
                    <a:pt x="13" y="642"/>
                  </a:moveTo>
                  <a:lnTo>
                    <a:pt x="13" y="0"/>
                  </a:lnTo>
                  <a:lnTo>
                    <a:pt x="0" y="0"/>
                  </a:lnTo>
                  <a:lnTo>
                    <a:pt x="0" y="6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0" name="ïS1îdè">
              <a:extLst>
                <a:ext uri="{FF2B5EF4-FFF2-40B4-BE49-F238E27FC236}">
                  <a16:creationId xmlns:a16="http://schemas.microsoft.com/office/drawing/2014/main" id="{5A6D474E-C12D-4942-A234-8FC2F569FD5E}"/>
                </a:ext>
              </a:extLst>
            </p:cNvPr>
            <p:cNvSpPr/>
            <p:nvPr/>
          </p:nvSpPr>
          <p:spPr bwMode="auto">
            <a:xfrm>
              <a:off x="1831501" y="4840295"/>
              <a:ext cx="540299" cy="15043"/>
            </a:xfrm>
            <a:prstGeom prst="rect">
              <a:avLst/>
            </a:prstGeom>
            <a:solidFill>
              <a:srgbClr val="403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1" name="íṩľïḑé">
              <a:extLst>
                <a:ext uri="{FF2B5EF4-FFF2-40B4-BE49-F238E27FC236}">
                  <a16:creationId xmlns:a16="http://schemas.microsoft.com/office/drawing/2014/main" id="{2FF1F8AB-C864-4D33-BE7B-7D29AE8D655B}"/>
                </a:ext>
              </a:extLst>
            </p:cNvPr>
            <p:cNvSpPr/>
            <p:nvPr/>
          </p:nvSpPr>
          <p:spPr bwMode="auto">
            <a:xfrm>
              <a:off x="1831501" y="4840295"/>
              <a:ext cx="540299" cy="15043"/>
            </a:xfrm>
            <a:custGeom>
              <a:avLst/>
              <a:gdLst>
                <a:gd name="T0" fmla="*/ 0 w 431"/>
                <a:gd name="T1" fmla="*/ 12 h 12"/>
                <a:gd name="T2" fmla="*/ 431 w 431"/>
                <a:gd name="T3" fmla="*/ 12 h 12"/>
                <a:gd name="T4" fmla="*/ 431 w 431"/>
                <a:gd name="T5" fmla="*/ 0 h 12"/>
                <a:gd name="T6" fmla="*/ 0 w 43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12">
                  <a:moveTo>
                    <a:pt x="0" y="12"/>
                  </a:moveTo>
                  <a:lnTo>
                    <a:pt x="431" y="12"/>
                  </a:lnTo>
                  <a:lnTo>
                    <a:pt x="43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2" name="işḷiḍè">
              <a:extLst>
                <a:ext uri="{FF2B5EF4-FFF2-40B4-BE49-F238E27FC236}">
                  <a16:creationId xmlns:a16="http://schemas.microsoft.com/office/drawing/2014/main" id="{C65BD84E-A1DF-4D83-A1A0-986713009075}"/>
                </a:ext>
              </a:extLst>
            </p:cNvPr>
            <p:cNvSpPr/>
            <p:nvPr/>
          </p:nvSpPr>
          <p:spPr bwMode="auto">
            <a:xfrm>
              <a:off x="1792639" y="4402790"/>
              <a:ext cx="618023" cy="887545"/>
            </a:xfrm>
            <a:custGeom>
              <a:avLst/>
              <a:gdLst>
                <a:gd name="T0" fmla="*/ 0 w 493"/>
                <a:gd name="T1" fmla="*/ 0 h 708"/>
                <a:gd name="T2" fmla="*/ 0 w 493"/>
                <a:gd name="T3" fmla="*/ 708 h 708"/>
                <a:gd name="T4" fmla="*/ 493 w 493"/>
                <a:gd name="T5" fmla="*/ 708 h 708"/>
                <a:gd name="T6" fmla="*/ 493 w 493"/>
                <a:gd name="T7" fmla="*/ 0 h 708"/>
                <a:gd name="T8" fmla="*/ 0 w 493"/>
                <a:gd name="T9" fmla="*/ 0 h 708"/>
                <a:gd name="T10" fmla="*/ 441 w 493"/>
                <a:gd name="T11" fmla="*/ 335 h 708"/>
                <a:gd name="T12" fmla="*/ 266 w 493"/>
                <a:gd name="T13" fmla="*/ 335 h 708"/>
                <a:gd name="T14" fmla="*/ 266 w 493"/>
                <a:gd name="T15" fmla="*/ 51 h 708"/>
                <a:gd name="T16" fmla="*/ 441 w 493"/>
                <a:gd name="T17" fmla="*/ 51 h 708"/>
                <a:gd name="T18" fmla="*/ 441 w 493"/>
                <a:gd name="T19" fmla="*/ 335 h 708"/>
                <a:gd name="T20" fmla="*/ 227 w 493"/>
                <a:gd name="T21" fmla="*/ 51 h 708"/>
                <a:gd name="T22" fmla="*/ 227 w 493"/>
                <a:gd name="T23" fmla="*/ 335 h 708"/>
                <a:gd name="T24" fmla="*/ 52 w 493"/>
                <a:gd name="T25" fmla="*/ 335 h 708"/>
                <a:gd name="T26" fmla="*/ 52 w 493"/>
                <a:gd name="T27" fmla="*/ 51 h 708"/>
                <a:gd name="T28" fmla="*/ 227 w 493"/>
                <a:gd name="T29" fmla="*/ 51 h 708"/>
                <a:gd name="T30" fmla="*/ 52 w 493"/>
                <a:gd name="T31" fmla="*/ 374 h 708"/>
                <a:gd name="T32" fmla="*/ 227 w 493"/>
                <a:gd name="T33" fmla="*/ 374 h 708"/>
                <a:gd name="T34" fmla="*/ 227 w 493"/>
                <a:gd name="T35" fmla="*/ 657 h 708"/>
                <a:gd name="T36" fmla="*/ 52 w 493"/>
                <a:gd name="T37" fmla="*/ 657 h 708"/>
                <a:gd name="T38" fmla="*/ 52 w 493"/>
                <a:gd name="T39" fmla="*/ 374 h 708"/>
                <a:gd name="T40" fmla="*/ 266 w 493"/>
                <a:gd name="T41" fmla="*/ 657 h 708"/>
                <a:gd name="T42" fmla="*/ 266 w 493"/>
                <a:gd name="T43" fmla="*/ 374 h 708"/>
                <a:gd name="T44" fmla="*/ 441 w 493"/>
                <a:gd name="T45" fmla="*/ 374 h 708"/>
                <a:gd name="T46" fmla="*/ 441 w 493"/>
                <a:gd name="T47" fmla="*/ 657 h 708"/>
                <a:gd name="T48" fmla="*/ 266 w 493"/>
                <a:gd name="T49" fmla="*/ 657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3" h="708">
                  <a:moveTo>
                    <a:pt x="0" y="0"/>
                  </a:moveTo>
                  <a:lnTo>
                    <a:pt x="0" y="708"/>
                  </a:lnTo>
                  <a:lnTo>
                    <a:pt x="493" y="708"/>
                  </a:lnTo>
                  <a:lnTo>
                    <a:pt x="493" y="0"/>
                  </a:lnTo>
                  <a:lnTo>
                    <a:pt x="0" y="0"/>
                  </a:lnTo>
                  <a:close/>
                  <a:moveTo>
                    <a:pt x="441" y="335"/>
                  </a:moveTo>
                  <a:lnTo>
                    <a:pt x="266" y="335"/>
                  </a:lnTo>
                  <a:lnTo>
                    <a:pt x="266" y="51"/>
                  </a:lnTo>
                  <a:lnTo>
                    <a:pt x="441" y="51"/>
                  </a:lnTo>
                  <a:lnTo>
                    <a:pt x="441" y="335"/>
                  </a:lnTo>
                  <a:close/>
                  <a:moveTo>
                    <a:pt x="227" y="51"/>
                  </a:moveTo>
                  <a:lnTo>
                    <a:pt x="227" y="335"/>
                  </a:lnTo>
                  <a:lnTo>
                    <a:pt x="52" y="335"/>
                  </a:lnTo>
                  <a:lnTo>
                    <a:pt x="52" y="51"/>
                  </a:lnTo>
                  <a:lnTo>
                    <a:pt x="227" y="51"/>
                  </a:lnTo>
                  <a:close/>
                  <a:moveTo>
                    <a:pt x="52" y="374"/>
                  </a:moveTo>
                  <a:lnTo>
                    <a:pt x="227" y="374"/>
                  </a:lnTo>
                  <a:lnTo>
                    <a:pt x="227" y="657"/>
                  </a:lnTo>
                  <a:lnTo>
                    <a:pt x="52" y="657"/>
                  </a:lnTo>
                  <a:lnTo>
                    <a:pt x="52" y="374"/>
                  </a:lnTo>
                  <a:close/>
                  <a:moveTo>
                    <a:pt x="266" y="657"/>
                  </a:moveTo>
                  <a:lnTo>
                    <a:pt x="266" y="374"/>
                  </a:lnTo>
                  <a:lnTo>
                    <a:pt x="441" y="374"/>
                  </a:lnTo>
                  <a:lnTo>
                    <a:pt x="441" y="657"/>
                  </a:lnTo>
                  <a:lnTo>
                    <a:pt x="266" y="65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3" name="îslîḓê">
              <a:extLst>
                <a:ext uri="{FF2B5EF4-FFF2-40B4-BE49-F238E27FC236}">
                  <a16:creationId xmlns:a16="http://schemas.microsoft.com/office/drawing/2014/main" id="{83B145AC-A81E-418F-BC98-0287115C504D}"/>
                </a:ext>
              </a:extLst>
            </p:cNvPr>
            <p:cNvSpPr/>
            <p:nvPr/>
          </p:nvSpPr>
          <p:spPr bwMode="auto">
            <a:xfrm>
              <a:off x="3634168" y="4402790"/>
              <a:ext cx="616768" cy="887545"/>
            </a:xfrm>
            <a:custGeom>
              <a:avLst/>
              <a:gdLst>
                <a:gd name="T0" fmla="*/ 0 w 492"/>
                <a:gd name="T1" fmla="*/ 0 h 708"/>
                <a:gd name="T2" fmla="*/ 0 w 492"/>
                <a:gd name="T3" fmla="*/ 708 h 708"/>
                <a:gd name="T4" fmla="*/ 492 w 492"/>
                <a:gd name="T5" fmla="*/ 708 h 708"/>
                <a:gd name="T6" fmla="*/ 492 w 492"/>
                <a:gd name="T7" fmla="*/ 0 h 708"/>
                <a:gd name="T8" fmla="*/ 0 w 492"/>
                <a:gd name="T9" fmla="*/ 0 h 708"/>
                <a:gd name="T10" fmla="*/ 441 w 492"/>
                <a:gd name="T11" fmla="*/ 335 h 708"/>
                <a:gd name="T12" fmla="*/ 266 w 492"/>
                <a:gd name="T13" fmla="*/ 335 h 708"/>
                <a:gd name="T14" fmla="*/ 266 w 492"/>
                <a:gd name="T15" fmla="*/ 51 h 708"/>
                <a:gd name="T16" fmla="*/ 441 w 492"/>
                <a:gd name="T17" fmla="*/ 51 h 708"/>
                <a:gd name="T18" fmla="*/ 441 w 492"/>
                <a:gd name="T19" fmla="*/ 335 h 708"/>
                <a:gd name="T20" fmla="*/ 227 w 492"/>
                <a:gd name="T21" fmla="*/ 51 h 708"/>
                <a:gd name="T22" fmla="*/ 227 w 492"/>
                <a:gd name="T23" fmla="*/ 335 h 708"/>
                <a:gd name="T24" fmla="*/ 52 w 492"/>
                <a:gd name="T25" fmla="*/ 335 h 708"/>
                <a:gd name="T26" fmla="*/ 52 w 492"/>
                <a:gd name="T27" fmla="*/ 51 h 708"/>
                <a:gd name="T28" fmla="*/ 227 w 492"/>
                <a:gd name="T29" fmla="*/ 51 h 708"/>
                <a:gd name="T30" fmla="*/ 52 w 492"/>
                <a:gd name="T31" fmla="*/ 374 h 708"/>
                <a:gd name="T32" fmla="*/ 227 w 492"/>
                <a:gd name="T33" fmla="*/ 374 h 708"/>
                <a:gd name="T34" fmla="*/ 227 w 492"/>
                <a:gd name="T35" fmla="*/ 657 h 708"/>
                <a:gd name="T36" fmla="*/ 52 w 492"/>
                <a:gd name="T37" fmla="*/ 657 h 708"/>
                <a:gd name="T38" fmla="*/ 52 w 492"/>
                <a:gd name="T39" fmla="*/ 374 h 708"/>
                <a:gd name="T40" fmla="*/ 266 w 492"/>
                <a:gd name="T41" fmla="*/ 657 h 708"/>
                <a:gd name="T42" fmla="*/ 266 w 492"/>
                <a:gd name="T43" fmla="*/ 374 h 708"/>
                <a:gd name="T44" fmla="*/ 441 w 492"/>
                <a:gd name="T45" fmla="*/ 374 h 708"/>
                <a:gd name="T46" fmla="*/ 441 w 492"/>
                <a:gd name="T47" fmla="*/ 657 h 708"/>
                <a:gd name="T48" fmla="*/ 266 w 492"/>
                <a:gd name="T49" fmla="*/ 657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2" h="708">
                  <a:moveTo>
                    <a:pt x="0" y="0"/>
                  </a:moveTo>
                  <a:lnTo>
                    <a:pt x="0" y="708"/>
                  </a:lnTo>
                  <a:lnTo>
                    <a:pt x="492" y="708"/>
                  </a:lnTo>
                  <a:lnTo>
                    <a:pt x="492" y="0"/>
                  </a:lnTo>
                  <a:lnTo>
                    <a:pt x="0" y="0"/>
                  </a:lnTo>
                  <a:close/>
                  <a:moveTo>
                    <a:pt x="441" y="335"/>
                  </a:moveTo>
                  <a:lnTo>
                    <a:pt x="266" y="335"/>
                  </a:lnTo>
                  <a:lnTo>
                    <a:pt x="266" y="51"/>
                  </a:lnTo>
                  <a:lnTo>
                    <a:pt x="441" y="51"/>
                  </a:lnTo>
                  <a:lnTo>
                    <a:pt x="441" y="335"/>
                  </a:lnTo>
                  <a:close/>
                  <a:moveTo>
                    <a:pt x="227" y="51"/>
                  </a:moveTo>
                  <a:lnTo>
                    <a:pt x="227" y="335"/>
                  </a:lnTo>
                  <a:lnTo>
                    <a:pt x="52" y="335"/>
                  </a:lnTo>
                  <a:lnTo>
                    <a:pt x="52" y="51"/>
                  </a:lnTo>
                  <a:lnTo>
                    <a:pt x="227" y="51"/>
                  </a:lnTo>
                  <a:close/>
                  <a:moveTo>
                    <a:pt x="52" y="374"/>
                  </a:moveTo>
                  <a:lnTo>
                    <a:pt x="227" y="374"/>
                  </a:lnTo>
                  <a:lnTo>
                    <a:pt x="227" y="657"/>
                  </a:lnTo>
                  <a:lnTo>
                    <a:pt x="52" y="657"/>
                  </a:lnTo>
                  <a:lnTo>
                    <a:pt x="52" y="374"/>
                  </a:lnTo>
                  <a:close/>
                  <a:moveTo>
                    <a:pt x="266" y="657"/>
                  </a:moveTo>
                  <a:lnTo>
                    <a:pt x="266" y="374"/>
                  </a:lnTo>
                  <a:lnTo>
                    <a:pt x="441" y="374"/>
                  </a:lnTo>
                  <a:lnTo>
                    <a:pt x="441" y="657"/>
                  </a:lnTo>
                  <a:lnTo>
                    <a:pt x="266" y="65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4" name="ïšḻídè">
              <a:extLst>
                <a:ext uri="{FF2B5EF4-FFF2-40B4-BE49-F238E27FC236}">
                  <a16:creationId xmlns:a16="http://schemas.microsoft.com/office/drawing/2014/main" id="{E63B9D0C-090E-481E-A28C-C67BACF378F0}"/>
                </a:ext>
              </a:extLst>
            </p:cNvPr>
            <p:cNvSpPr/>
            <p:nvPr/>
          </p:nvSpPr>
          <p:spPr bwMode="auto">
            <a:xfrm>
              <a:off x="2779218" y="4981951"/>
              <a:ext cx="65187" cy="6393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5" name="íṧļïḋé">
              <a:extLst>
                <a:ext uri="{FF2B5EF4-FFF2-40B4-BE49-F238E27FC236}">
                  <a16:creationId xmlns:a16="http://schemas.microsoft.com/office/drawing/2014/main" id="{245C8F63-21FA-4A6D-AA25-9BD9B4A769B0}"/>
                </a:ext>
              </a:extLst>
            </p:cNvPr>
            <p:cNvSpPr/>
            <p:nvPr/>
          </p:nvSpPr>
          <p:spPr bwMode="auto">
            <a:xfrm>
              <a:off x="2769189" y="4970668"/>
              <a:ext cx="65187" cy="65187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6" name="íṣ1íďé">
              <a:extLst>
                <a:ext uri="{FF2B5EF4-FFF2-40B4-BE49-F238E27FC236}">
                  <a16:creationId xmlns:a16="http://schemas.microsoft.com/office/drawing/2014/main" id="{B7AA4DEE-394A-40B7-BDF2-0E31713349AB}"/>
                </a:ext>
              </a:extLst>
            </p:cNvPr>
            <p:cNvSpPr/>
            <p:nvPr/>
          </p:nvSpPr>
          <p:spPr bwMode="auto">
            <a:xfrm>
              <a:off x="2803036" y="4476753"/>
              <a:ext cx="442519" cy="347246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7" name="i$ļidè">
              <a:extLst>
                <a:ext uri="{FF2B5EF4-FFF2-40B4-BE49-F238E27FC236}">
                  <a16:creationId xmlns:a16="http://schemas.microsoft.com/office/drawing/2014/main" id="{C6BC44A7-193A-4582-9118-89078D35351C}"/>
                </a:ext>
              </a:extLst>
            </p:cNvPr>
            <p:cNvSpPr/>
            <p:nvPr/>
          </p:nvSpPr>
          <p:spPr bwMode="auto">
            <a:xfrm>
              <a:off x="3965118" y="2904745"/>
              <a:ext cx="488902" cy="114077"/>
            </a:xfrm>
            <a:custGeom>
              <a:avLst/>
              <a:gdLst>
                <a:gd name="T0" fmla="*/ 390 w 390"/>
                <a:gd name="T1" fmla="*/ 0 h 91"/>
                <a:gd name="T2" fmla="*/ 0 w 390"/>
                <a:gd name="T3" fmla="*/ 0 h 91"/>
                <a:gd name="T4" fmla="*/ 390 w 390"/>
                <a:gd name="T5" fmla="*/ 91 h 91"/>
                <a:gd name="T6" fmla="*/ 390 w 390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0" h="91">
                  <a:moveTo>
                    <a:pt x="390" y="0"/>
                  </a:moveTo>
                  <a:lnTo>
                    <a:pt x="0" y="0"/>
                  </a:lnTo>
                  <a:lnTo>
                    <a:pt x="390" y="91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8" name="îṡḻiďe">
              <a:extLst>
                <a:ext uri="{FF2B5EF4-FFF2-40B4-BE49-F238E27FC236}">
                  <a16:creationId xmlns:a16="http://schemas.microsoft.com/office/drawing/2014/main" id="{1689DFF0-1F6C-40CB-86C4-A5B668C99513}"/>
                </a:ext>
              </a:extLst>
            </p:cNvPr>
            <p:cNvSpPr/>
            <p:nvPr/>
          </p:nvSpPr>
          <p:spPr bwMode="auto">
            <a:xfrm>
              <a:off x="3965118" y="2904745"/>
              <a:ext cx="488902" cy="114077"/>
            </a:xfrm>
            <a:custGeom>
              <a:avLst/>
              <a:gdLst>
                <a:gd name="T0" fmla="*/ 390 w 390"/>
                <a:gd name="T1" fmla="*/ 0 h 91"/>
                <a:gd name="T2" fmla="*/ 0 w 390"/>
                <a:gd name="T3" fmla="*/ 0 h 91"/>
                <a:gd name="T4" fmla="*/ 390 w 390"/>
                <a:gd name="T5" fmla="*/ 91 h 91"/>
                <a:gd name="T6" fmla="*/ 390 w 390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0" h="91">
                  <a:moveTo>
                    <a:pt x="390" y="0"/>
                  </a:moveTo>
                  <a:lnTo>
                    <a:pt x="0" y="0"/>
                  </a:lnTo>
                  <a:lnTo>
                    <a:pt x="390" y="91"/>
                  </a:lnTo>
                  <a:lnTo>
                    <a:pt x="39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39" name="í$liḑe">
              <a:extLst>
                <a:ext uri="{FF2B5EF4-FFF2-40B4-BE49-F238E27FC236}">
                  <a16:creationId xmlns:a16="http://schemas.microsoft.com/office/drawing/2014/main" id="{DAB79409-7E9B-48E3-A511-DD4EC29BF96A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custGeom>
              <a:avLst/>
              <a:gdLst>
                <a:gd name="T0" fmla="*/ 472 w 472"/>
                <a:gd name="T1" fmla="*/ 0 h 852"/>
                <a:gd name="T2" fmla="*/ 0 w 472"/>
                <a:gd name="T3" fmla="*/ 0 h 852"/>
                <a:gd name="T4" fmla="*/ 0 w 472"/>
                <a:gd name="T5" fmla="*/ 852 h 852"/>
                <a:gd name="T6" fmla="*/ 15 w 472"/>
                <a:gd name="T7" fmla="*/ 852 h 852"/>
                <a:gd name="T8" fmla="*/ 15 w 472"/>
                <a:gd name="T9" fmla="*/ 14 h 852"/>
                <a:gd name="T10" fmla="*/ 472 w 472"/>
                <a:gd name="T11" fmla="*/ 14 h 852"/>
                <a:gd name="T12" fmla="*/ 472 w 47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852">
                  <a:moveTo>
                    <a:pt x="472" y="0"/>
                  </a:moveTo>
                  <a:lnTo>
                    <a:pt x="0" y="0"/>
                  </a:lnTo>
                  <a:lnTo>
                    <a:pt x="0" y="852"/>
                  </a:lnTo>
                  <a:lnTo>
                    <a:pt x="15" y="852"/>
                  </a:lnTo>
                  <a:lnTo>
                    <a:pt x="15" y="14"/>
                  </a:lnTo>
                  <a:lnTo>
                    <a:pt x="472" y="14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0" name="íSľïḍê">
              <a:extLst>
                <a:ext uri="{FF2B5EF4-FFF2-40B4-BE49-F238E27FC236}">
                  <a16:creationId xmlns:a16="http://schemas.microsoft.com/office/drawing/2014/main" id="{FEC25507-36AD-45D1-B319-A8BB3FAD32FA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custGeom>
              <a:avLst/>
              <a:gdLst>
                <a:gd name="T0" fmla="*/ 472 w 472"/>
                <a:gd name="T1" fmla="*/ 0 h 852"/>
                <a:gd name="T2" fmla="*/ 0 w 472"/>
                <a:gd name="T3" fmla="*/ 0 h 852"/>
                <a:gd name="T4" fmla="*/ 0 w 472"/>
                <a:gd name="T5" fmla="*/ 852 h 852"/>
                <a:gd name="T6" fmla="*/ 15 w 472"/>
                <a:gd name="T7" fmla="*/ 852 h 852"/>
                <a:gd name="T8" fmla="*/ 15 w 472"/>
                <a:gd name="T9" fmla="*/ 14 h 852"/>
                <a:gd name="T10" fmla="*/ 472 w 472"/>
                <a:gd name="T11" fmla="*/ 14 h 852"/>
                <a:gd name="T12" fmla="*/ 472 w 47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852">
                  <a:moveTo>
                    <a:pt x="472" y="0"/>
                  </a:moveTo>
                  <a:lnTo>
                    <a:pt x="0" y="0"/>
                  </a:lnTo>
                  <a:lnTo>
                    <a:pt x="0" y="852"/>
                  </a:lnTo>
                  <a:lnTo>
                    <a:pt x="15" y="852"/>
                  </a:lnTo>
                  <a:lnTo>
                    <a:pt x="15" y="14"/>
                  </a:lnTo>
                  <a:lnTo>
                    <a:pt x="472" y="14"/>
                  </a:lnTo>
                  <a:lnTo>
                    <a:pt x="47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1" name="i$ḷiḓê">
              <a:extLst>
                <a:ext uri="{FF2B5EF4-FFF2-40B4-BE49-F238E27FC236}">
                  <a16:creationId xmlns:a16="http://schemas.microsoft.com/office/drawing/2014/main" id="{39D9DD75-8929-4880-86C8-FAAFF5D1D42C}"/>
                </a:ext>
              </a:extLst>
            </p:cNvPr>
            <p:cNvSpPr/>
            <p:nvPr/>
          </p:nvSpPr>
          <p:spPr bwMode="auto">
            <a:xfrm>
              <a:off x="2593686" y="5470852"/>
              <a:ext cx="864980" cy="6518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2" name="íṡlïḑé">
              <a:extLst>
                <a:ext uri="{FF2B5EF4-FFF2-40B4-BE49-F238E27FC236}">
                  <a16:creationId xmlns:a16="http://schemas.microsoft.com/office/drawing/2014/main" id="{BB60CEF1-E8EE-43DD-BC0A-3EE1B5C2766B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8 w 2686"/>
                <a:gd name="T1" fmla="*/ 707 h 712"/>
                <a:gd name="T2" fmla="*/ 206 w 2686"/>
                <a:gd name="T3" fmla="*/ 5 h 712"/>
                <a:gd name="T4" fmla="*/ 577 w 2686"/>
                <a:gd name="T5" fmla="*/ 5 h 712"/>
                <a:gd name="T6" fmla="*/ 446 w 2686"/>
                <a:gd name="T7" fmla="*/ 707 h 712"/>
                <a:gd name="T8" fmla="*/ 8 w 2686"/>
                <a:gd name="T9" fmla="*/ 707 h 712"/>
                <a:gd name="T10" fmla="*/ 455 w 2686"/>
                <a:gd name="T11" fmla="*/ 707 h 712"/>
                <a:gd name="T12" fmla="*/ 586 w 2686"/>
                <a:gd name="T13" fmla="*/ 5 h 712"/>
                <a:gd name="T14" fmla="*/ 958 w 2686"/>
                <a:gd name="T15" fmla="*/ 5 h 712"/>
                <a:gd name="T16" fmla="*/ 893 w 2686"/>
                <a:gd name="T17" fmla="*/ 707 h 712"/>
                <a:gd name="T18" fmla="*/ 455 w 2686"/>
                <a:gd name="T19" fmla="*/ 707 h 712"/>
                <a:gd name="T20" fmla="*/ 901 w 2686"/>
                <a:gd name="T21" fmla="*/ 707 h 712"/>
                <a:gd name="T22" fmla="*/ 967 w 2686"/>
                <a:gd name="T23" fmla="*/ 5 h 712"/>
                <a:gd name="T24" fmla="*/ 1340 w 2686"/>
                <a:gd name="T25" fmla="*/ 5 h 712"/>
                <a:gd name="T26" fmla="*/ 1340 w 2686"/>
                <a:gd name="T27" fmla="*/ 707 h 712"/>
                <a:gd name="T28" fmla="*/ 901 w 2686"/>
                <a:gd name="T29" fmla="*/ 707 h 712"/>
                <a:gd name="T30" fmla="*/ 1348 w 2686"/>
                <a:gd name="T31" fmla="*/ 707 h 712"/>
                <a:gd name="T32" fmla="*/ 1348 w 2686"/>
                <a:gd name="T33" fmla="*/ 5 h 712"/>
                <a:gd name="T34" fmla="*/ 1721 w 2686"/>
                <a:gd name="T35" fmla="*/ 5 h 712"/>
                <a:gd name="T36" fmla="*/ 1787 w 2686"/>
                <a:gd name="T37" fmla="*/ 707 h 712"/>
                <a:gd name="T38" fmla="*/ 1348 w 2686"/>
                <a:gd name="T39" fmla="*/ 707 h 712"/>
                <a:gd name="T40" fmla="*/ 1795 w 2686"/>
                <a:gd name="T41" fmla="*/ 707 h 712"/>
                <a:gd name="T42" fmla="*/ 1729 w 2686"/>
                <a:gd name="T43" fmla="*/ 5 h 712"/>
                <a:gd name="T44" fmla="*/ 2102 w 2686"/>
                <a:gd name="T45" fmla="*/ 5 h 712"/>
                <a:gd name="T46" fmla="*/ 2233 w 2686"/>
                <a:gd name="T47" fmla="*/ 707 h 712"/>
                <a:gd name="T48" fmla="*/ 1795 w 2686"/>
                <a:gd name="T49" fmla="*/ 707 h 712"/>
                <a:gd name="T50" fmla="*/ 2242 w 2686"/>
                <a:gd name="T51" fmla="*/ 707 h 712"/>
                <a:gd name="T52" fmla="*/ 2110 w 2686"/>
                <a:gd name="T53" fmla="*/ 5 h 712"/>
                <a:gd name="T54" fmla="*/ 2482 w 2686"/>
                <a:gd name="T55" fmla="*/ 5 h 712"/>
                <a:gd name="T56" fmla="*/ 2680 w 2686"/>
                <a:gd name="T57" fmla="*/ 707 h 712"/>
                <a:gd name="T58" fmla="*/ 2242 w 2686"/>
                <a:gd name="T59" fmla="*/ 707 h 712"/>
                <a:gd name="T60" fmla="*/ 2485 w 2686"/>
                <a:gd name="T61" fmla="*/ 0 h 712"/>
                <a:gd name="T62" fmla="*/ 2485 w 2686"/>
                <a:gd name="T63" fmla="*/ 0 h 712"/>
                <a:gd name="T64" fmla="*/ 2095 w 2686"/>
                <a:gd name="T65" fmla="*/ 0 h 712"/>
                <a:gd name="T66" fmla="*/ 203 w 2686"/>
                <a:gd name="T67" fmla="*/ 0 h 712"/>
                <a:gd name="T68" fmla="*/ 0 w 2686"/>
                <a:gd name="T69" fmla="*/ 712 h 712"/>
                <a:gd name="T70" fmla="*/ 2686 w 2686"/>
                <a:gd name="T71" fmla="*/ 712 h 712"/>
                <a:gd name="T72" fmla="*/ 2485 w 2686"/>
                <a:gd name="T73" fmla="*/ 0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86" h="712">
                  <a:moveTo>
                    <a:pt x="8" y="707"/>
                  </a:moveTo>
                  <a:lnTo>
                    <a:pt x="206" y="5"/>
                  </a:lnTo>
                  <a:lnTo>
                    <a:pt x="577" y="5"/>
                  </a:lnTo>
                  <a:lnTo>
                    <a:pt x="446" y="707"/>
                  </a:lnTo>
                  <a:lnTo>
                    <a:pt x="8" y="707"/>
                  </a:lnTo>
                  <a:close/>
                  <a:moveTo>
                    <a:pt x="455" y="707"/>
                  </a:moveTo>
                  <a:lnTo>
                    <a:pt x="586" y="5"/>
                  </a:lnTo>
                  <a:lnTo>
                    <a:pt x="958" y="5"/>
                  </a:lnTo>
                  <a:lnTo>
                    <a:pt x="893" y="707"/>
                  </a:lnTo>
                  <a:lnTo>
                    <a:pt x="455" y="707"/>
                  </a:lnTo>
                  <a:close/>
                  <a:moveTo>
                    <a:pt x="901" y="707"/>
                  </a:moveTo>
                  <a:lnTo>
                    <a:pt x="967" y="5"/>
                  </a:lnTo>
                  <a:lnTo>
                    <a:pt x="1340" y="5"/>
                  </a:lnTo>
                  <a:lnTo>
                    <a:pt x="1340" y="707"/>
                  </a:lnTo>
                  <a:lnTo>
                    <a:pt x="901" y="707"/>
                  </a:lnTo>
                  <a:close/>
                  <a:moveTo>
                    <a:pt x="1348" y="707"/>
                  </a:moveTo>
                  <a:lnTo>
                    <a:pt x="1348" y="5"/>
                  </a:lnTo>
                  <a:lnTo>
                    <a:pt x="1721" y="5"/>
                  </a:lnTo>
                  <a:lnTo>
                    <a:pt x="1787" y="707"/>
                  </a:lnTo>
                  <a:lnTo>
                    <a:pt x="1348" y="707"/>
                  </a:lnTo>
                  <a:close/>
                  <a:moveTo>
                    <a:pt x="1795" y="707"/>
                  </a:moveTo>
                  <a:lnTo>
                    <a:pt x="1729" y="5"/>
                  </a:lnTo>
                  <a:lnTo>
                    <a:pt x="2102" y="5"/>
                  </a:lnTo>
                  <a:lnTo>
                    <a:pt x="2233" y="707"/>
                  </a:lnTo>
                  <a:lnTo>
                    <a:pt x="1795" y="707"/>
                  </a:lnTo>
                  <a:close/>
                  <a:moveTo>
                    <a:pt x="2242" y="707"/>
                  </a:moveTo>
                  <a:lnTo>
                    <a:pt x="2110" y="5"/>
                  </a:lnTo>
                  <a:lnTo>
                    <a:pt x="2482" y="5"/>
                  </a:lnTo>
                  <a:lnTo>
                    <a:pt x="2680" y="707"/>
                  </a:lnTo>
                  <a:lnTo>
                    <a:pt x="2242" y="707"/>
                  </a:lnTo>
                  <a:close/>
                  <a:moveTo>
                    <a:pt x="2485" y="0"/>
                  </a:moveTo>
                  <a:lnTo>
                    <a:pt x="2485" y="0"/>
                  </a:lnTo>
                  <a:lnTo>
                    <a:pt x="2095" y="0"/>
                  </a:lnTo>
                  <a:lnTo>
                    <a:pt x="203" y="0"/>
                  </a:lnTo>
                  <a:lnTo>
                    <a:pt x="0" y="712"/>
                  </a:lnTo>
                  <a:lnTo>
                    <a:pt x="2686" y="712"/>
                  </a:lnTo>
                  <a:lnTo>
                    <a:pt x="2485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3" name="íşḻîḓé">
              <a:extLst>
                <a:ext uri="{FF2B5EF4-FFF2-40B4-BE49-F238E27FC236}">
                  <a16:creationId xmlns:a16="http://schemas.microsoft.com/office/drawing/2014/main" id="{720F185A-8FC6-4084-A4DB-497265B8544B}"/>
                </a:ext>
              </a:extLst>
            </p:cNvPr>
            <p:cNvSpPr/>
            <p:nvPr/>
          </p:nvSpPr>
          <p:spPr bwMode="auto">
            <a:xfrm>
              <a:off x="2568614" y="3447552"/>
              <a:ext cx="911364" cy="239437"/>
            </a:xfrm>
            <a:custGeom>
              <a:avLst/>
              <a:gdLst>
                <a:gd name="T0" fmla="*/ 96 w 725"/>
                <a:gd name="T1" fmla="*/ 0 h 191"/>
                <a:gd name="T2" fmla="*/ 96 w 725"/>
                <a:gd name="T3" fmla="*/ 0 h 191"/>
                <a:gd name="T4" fmla="*/ 629 w 725"/>
                <a:gd name="T5" fmla="*/ 0 h 191"/>
                <a:gd name="T6" fmla="*/ 725 w 725"/>
                <a:gd name="T7" fmla="*/ 96 h 191"/>
                <a:gd name="T8" fmla="*/ 629 w 725"/>
                <a:gd name="T9" fmla="*/ 191 h 191"/>
                <a:gd name="T10" fmla="*/ 96 w 725"/>
                <a:gd name="T11" fmla="*/ 191 h 191"/>
                <a:gd name="T12" fmla="*/ 0 w 725"/>
                <a:gd name="T13" fmla="*/ 96 h 191"/>
                <a:gd name="T14" fmla="*/ 96 w 725"/>
                <a:gd name="T1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5" h="191"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629" y="0"/>
                    <a:pt x="629" y="0"/>
                    <a:pt x="629" y="0"/>
                  </a:cubicBezTo>
                  <a:cubicBezTo>
                    <a:pt x="682" y="0"/>
                    <a:pt x="725" y="43"/>
                    <a:pt x="725" y="96"/>
                  </a:cubicBezTo>
                  <a:cubicBezTo>
                    <a:pt x="725" y="148"/>
                    <a:pt x="682" y="191"/>
                    <a:pt x="629" y="191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43" y="191"/>
                    <a:pt x="0" y="148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4" name="íśḻîḑe">
              <a:extLst>
                <a:ext uri="{FF2B5EF4-FFF2-40B4-BE49-F238E27FC236}">
                  <a16:creationId xmlns:a16="http://schemas.microsoft.com/office/drawing/2014/main" id="{BB19A005-748E-409F-BFE9-9C90004547C6}"/>
                </a:ext>
              </a:extLst>
            </p:cNvPr>
            <p:cNvSpPr/>
            <p:nvPr/>
          </p:nvSpPr>
          <p:spPr bwMode="auto">
            <a:xfrm>
              <a:off x="2568614" y="3447552"/>
              <a:ext cx="911364" cy="146670"/>
            </a:xfrm>
            <a:custGeom>
              <a:avLst/>
              <a:gdLst>
                <a:gd name="T0" fmla="*/ 96 w 725"/>
                <a:gd name="T1" fmla="*/ 42 h 117"/>
                <a:gd name="T2" fmla="*/ 629 w 725"/>
                <a:gd name="T3" fmla="*/ 42 h 117"/>
                <a:gd name="T4" fmla="*/ 722 w 725"/>
                <a:gd name="T5" fmla="*/ 117 h 117"/>
                <a:gd name="T6" fmla="*/ 725 w 725"/>
                <a:gd name="T7" fmla="*/ 96 h 117"/>
                <a:gd name="T8" fmla="*/ 629 w 725"/>
                <a:gd name="T9" fmla="*/ 0 h 117"/>
                <a:gd name="T10" fmla="*/ 96 w 725"/>
                <a:gd name="T11" fmla="*/ 0 h 117"/>
                <a:gd name="T12" fmla="*/ 0 w 725"/>
                <a:gd name="T13" fmla="*/ 96 h 117"/>
                <a:gd name="T14" fmla="*/ 2 w 725"/>
                <a:gd name="T15" fmla="*/ 117 h 117"/>
                <a:gd name="T16" fmla="*/ 96 w 725"/>
                <a:gd name="T17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5" h="117">
                  <a:moveTo>
                    <a:pt x="96" y="42"/>
                  </a:moveTo>
                  <a:cubicBezTo>
                    <a:pt x="629" y="42"/>
                    <a:pt x="629" y="42"/>
                    <a:pt x="629" y="42"/>
                  </a:cubicBezTo>
                  <a:cubicBezTo>
                    <a:pt x="675" y="42"/>
                    <a:pt x="713" y="74"/>
                    <a:pt x="722" y="117"/>
                  </a:cubicBezTo>
                  <a:cubicBezTo>
                    <a:pt x="724" y="110"/>
                    <a:pt x="725" y="103"/>
                    <a:pt x="725" y="96"/>
                  </a:cubicBezTo>
                  <a:cubicBezTo>
                    <a:pt x="725" y="43"/>
                    <a:pt x="682" y="0"/>
                    <a:pt x="629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03"/>
                    <a:pt x="1" y="110"/>
                    <a:pt x="2" y="117"/>
                  </a:cubicBezTo>
                  <a:cubicBezTo>
                    <a:pt x="12" y="74"/>
                    <a:pt x="50" y="42"/>
                    <a:pt x="96" y="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F8DA8C38-1523-4571-BACA-76ECB09A1C52}"/>
              </a:ext>
            </a:extLst>
          </p:cNvPr>
          <p:cNvCxnSpPr>
            <a:cxnSpLocks/>
          </p:cNvCxnSpPr>
          <p:nvPr userDrawn="1"/>
        </p:nvCxnSpPr>
        <p:spPr>
          <a:xfrm>
            <a:off x="5702298" y="5000676"/>
            <a:ext cx="581660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íšlîḍé">
            <a:extLst>
              <a:ext uri="{FF2B5EF4-FFF2-40B4-BE49-F238E27FC236}">
                <a16:creationId xmlns:a16="http://schemas.microsoft.com/office/drawing/2014/main" id="{EF637CC7-9604-4960-AF64-E6B713400B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8" name="íšḷidê">
            <a:extLst>
              <a:ext uri="{FF2B5EF4-FFF2-40B4-BE49-F238E27FC236}">
                <a16:creationId xmlns:a16="http://schemas.microsoft.com/office/drawing/2014/main" id="{8D515F90-CF36-48EB-979C-DF032FEC99F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264655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265771" y="432435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íś1ïḓê">
            <a:extLst>
              <a:ext uri="{FF2B5EF4-FFF2-40B4-BE49-F238E27FC236}">
                <a16:creationId xmlns:a16="http://schemas.microsoft.com/office/drawing/2014/main" id="{5ADE2628-DD5C-424A-994B-20033B3F68A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defTabSz="9143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7" name="iSḷïďê">
            <a:extLst>
              <a:ext uri="{FF2B5EF4-FFF2-40B4-BE49-F238E27FC236}">
                <a16:creationId xmlns:a16="http://schemas.microsoft.com/office/drawing/2014/main" id="{3357DF0B-152E-4704-BBD8-578790D24E0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2254214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4560449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264179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501C2D46-532E-4EB8-9B4D-5361D4206408}"/>
              </a:ext>
            </a:extLst>
          </p:cNvPr>
          <p:cNvGrpSpPr/>
          <p:nvPr userDrawn="1"/>
        </p:nvGrpSpPr>
        <p:grpSpPr>
          <a:xfrm flipH="1">
            <a:off x="7071162" y="1150354"/>
            <a:ext cx="5120838" cy="5742866"/>
            <a:chOff x="0" y="258409"/>
            <a:chExt cx="4705993" cy="5277630"/>
          </a:xfrm>
        </p:grpSpPr>
        <p:sp>
          <p:nvSpPr>
            <p:cNvPr id="11" name="îṡļiḓè">
              <a:extLst>
                <a:ext uri="{FF2B5EF4-FFF2-40B4-BE49-F238E27FC236}">
                  <a16:creationId xmlns:a16="http://schemas.microsoft.com/office/drawing/2014/main" id="{CDB63D9D-5705-4E71-861F-D5C0CC45873A}"/>
                </a:ext>
              </a:extLst>
            </p:cNvPr>
            <p:cNvSpPr/>
            <p:nvPr/>
          </p:nvSpPr>
          <p:spPr bwMode="auto">
            <a:xfrm>
              <a:off x="2108545" y="813752"/>
              <a:ext cx="2136124" cy="2107292"/>
            </a:xfrm>
            <a:custGeom>
              <a:avLst/>
              <a:gdLst>
                <a:gd name="T0" fmla="*/ 44 w 1701"/>
                <a:gd name="T1" fmla="*/ 1297 h 1679"/>
                <a:gd name="T2" fmla="*/ 350 w 1701"/>
                <a:gd name="T3" fmla="*/ 1478 h 1679"/>
                <a:gd name="T4" fmla="*/ 256 w 1701"/>
                <a:gd name="T5" fmla="*/ 1242 h 1679"/>
                <a:gd name="T6" fmla="*/ 500 w 1701"/>
                <a:gd name="T7" fmla="*/ 915 h 1679"/>
                <a:gd name="T8" fmla="*/ 1041 w 1701"/>
                <a:gd name="T9" fmla="*/ 1000 h 1679"/>
                <a:gd name="T10" fmla="*/ 1085 w 1701"/>
                <a:gd name="T11" fmla="*/ 1345 h 1679"/>
                <a:gd name="T12" fmla="*/ 1219 w 1701"/>
                <a:gd name="T13" fmla="*/ 910 h 1679"/>
                <a:gd name="T14" fmla="*/ 801 w 1701"/>
                <a:gd name="T15" fmla="*/ 719 h 1679"/>
                <a:gd name="T16" fmla="*/ 1118 w 1701"/>
                <a:gd name="T17" fmla="*/ 640 h 1679"/>
                <a:gd name="T18" fmla="*/ 1603 w 1701"/>
                <a:gd name="T19" fmla="*/ 709 h 1679"/>
                <a:gd name="T20" fmla="*/ 1095 w 1701"/>
                <a:gd name="T21" fmla="*/ 459 h 1679"/>
                <a:gd name="T22" fmla="*/ 812 w 1701"/>
                <a:gd name="T23" fmla="*/ 570 h 1679"/>
                <a:gd name="T24" fmla="*/ 1028 w 1701"/>
                <a:gd name="T25" fmla="*/ 428 h 1679"/>
                <a:gd name="T26" fmla="*/ 1477 w 1701"/>
                <a:gd name="T27" fmla="*/ 345 h 1679"/>
                <a:gd name="T28" fmla="*/ 974 w 1701"/>
                <a:gd name="T29" fmla="*/ 318 h 1679"/>
                <a:gd name="T30" fmla="*/ 722 w 1701"/>
                <a:gd name="T31" fmla="*/ 520 h 1679"/>
                <a:gd name="T32" fmla="*/ 855 w 1701"/>
                <a:gd name="T33" fmla="*/ 349 h 1679"/>
                <a:gd name="T34" fmla="*/ 1136 w 1701"/>
                <a:gd name="T35" fmla="*/ 96 h 1679"/>
                <a:gd name="T36" fmla="*/ 731 w 1701"/>
                <a:gd name="T37" fmla="*/ 275 h 1679"/>
                <a:gd name="T38" fmla="*/ 550 w 1701"/>
                <a:gd name="T39" fmla="*/ 549 h 1679"/>
                <a:gd name="T40" fmla="*/ 197 w 1701"/>
                <a:gd name="T41" fmla="*/ 402 h 1679"/>
                <a:gd name="T42" fmla="*/ 31 w 1701"/>
                <a:gd name="T43" fmla="*/ 888 h 1679"/>
                <a:gd name="T44" fmla="*/ 179 w 1701"/>
                <a:gd name="T45" fmla="*/ 933 h 1679"/>
                <a:gd name="T46" fmla="*/ 44 w 1701"/>
                <a:gd name="T47" fmla="*/ 1297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1" h="1679">
                  <a:moveTo>
                    <a:pt x="44" y="1297"/>
                  </a:moveTo>
                  <a:cubicBezTo>
                    <a:pt x="75" y="1419"/>
                    <a:pt x="199" y="1679"/>
                    <a:pt x="350" y="1478"/>
                  </a:cubicBezTo>
                  <a:cubicBezTo>
                    <a:pt x="424" y="1380"/>
                    <a:pt x="288" y="1341"/>
                    <a:pt x="256" y="1242"/>
                  </a:cubicBezTo>
                  <a:cubicBezTo>
                    <a:pt x="221" y="1130"/>
                    <a:pt x="402" y="961"/>
                    <a:pt x="500" y="915"/>
                  </a:cubicBezTo>
                  <a:cubicBezTo>
                    <a:pt x="598" y="869"/>
                    <a:pt x="1000" y="878"/>
                    <a:pt x="1041" y="1000"/>
                  </a:cubicBezTo>
                  <a:cubicBezTo>
                    <a:pt x="1074" y="1100"/>
                    <a:pt x="964" y="1282"/>
                    <a:pt x="1085" y="1345"/>
                  </a:cubicBezTo>
                  <a:cubicBezTo>
                    <a:pt x="1263" y="1438"/>
                    <a:pt x="1338" y="1087"/>
                    <a:pt x="1219" y="910"/>
                  </a:cubicBezTo>
                  <a:cubicBezTo>
                    <a:pt x="1135" y="785"/>
                    <a:pt x="801" y="719"/>
                    <a:pt x="801" y="719"/>
                  </a:cubicBezTo>
                  <a:cubicBezTo>
                    <a:pt x="895" y="653"/>
                    <a:pt x="1006" y="635"/>
                    <a:pt x="1118" y="640"/>
                  </a:cubicBezTo>
                  <a:cubicBezTo>
                    <a:pt x="1455" y="655"/>
                    <a:pt x="1558" y="819"/>
                    <a:pt x="1603" y="709"/>
                  </a:cubicBezTo>
                  <a:cubicBezTo>
                    <a:pt x="1701" y="473"/>
                    <a:pt x="1320" y="404"/>
                    <a:pt x="1095" y="459"/>
                  </a:cubicBezTo>
                  <a:cubicBezTo>
                    <a:pt x="938" y="498"/>
                    <a:pt x="812" y="570"/>
                    <a:pt x="812" y="570"/>
                  </a:cubicBezTo>
                  <a:cubicBezTo>
                    <a:pt x="875" y="502"/>
                    <a:pt x="951" y="464"/>
                    <a:pt x="1028" y="428"/>
                  </a:cubicBezTo>
                  <a:cubicBezTo>
                    <a:pt x="1282" y="309"/>
                    <a:pt x="1441" y="446"/>
                    <a:pt x="1477" y="345"/>
                  </a:cubicBezTo>
                  <a:cubicBezTo>
                    <a:pt x="1541" y="170"/>
                    <a:pt x="1283" y="134"/>
                    <a:pt x="974" y="318"/>
                  </a:cubicBezTo>
                  <a:cubicBezTo>
                    <a:pt x="827" y="405"/>
                    <a:pt x="722" y="520"/>
                    <a:pt x="722" y="520"/>
                  </a:cubicBezTo>
                  <a:cubicBezTo>
                    <a:pt x="752" y="448"/>
                    <a:pt x="806" y="389"/>
                    <a:pt x="855" y="349"/>
                  </a:cubicBezTo>
                  <a:cubicBezTo>
                    <a:pt x="1017" y="216"/>
                    <a:pt x="1213" y="227"/>
                    <a:pt x="1136" y="96"/>
                  </a:cubicBezTo>
                  <a:cubicBezTo>
                    <a:pt x="1079" y="0"/>
                    <a:pt x="869" y="128"/>
                    <a:pt x="731" y="275"/>
                  </a:cubicBezTo>
                  <a:cubicBezTo>
                    <a:pt x="613" y="401"/>
                    <a:pt x="550" y="549"/>
                    <a:pt x="550" y="549"/>
                  </a:cubicBezTo>
                  <a:cubicBezTo>
                    <a:pt x="197" y="402"/>
                    <a:pt x="197" y="402"/>
                    <a:pt x="197" y="402"/>
                  </a:cubicBezTo>
                  <a:cubicBezTo>
                    <a:pt x="31" y="888"/>
                    <a:pt x="31" y="888"/>
                    <a:pt x="31" y="888"/>
                  </a:cubicBezTo>
                  <a:cubicBezTo>
                    <a:pt x="179" y="933"/>
                    <a:pt x="179" y="933"/>
                    <a:pt x="179" y="933"/>
                  </a:cubicBezTo>
                  <a:cubicBezTo>
                    <a:pt x="78" y="1052"/>
                    <a:pt x="0" y="1122"/>
                    <a:pt x="44" y="1297"/>
                  </a:cubicBezTo>
                  <a:close/>
                </a:path>
              </a:pathLst>
            </a:custGeom>
            <a:solidFill>
              <a:srgbClr val="F7D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" name="ïŝḷîḓé">
              <a:extLst>
                <a:ext uri="{FF2B5EF4-FFF2-40B4-BE49-F238E27FC236}">
                  <a16:creationId xmlns:a16="http://schemas.microsoft.com/office/drawing/2014/main" id="{DCB34057-CFC8-4E96-A88A-3EC293EF62B0}"/>
                </a:ext>
              </a:extLst>
            </p:cNvPr>
            <p:cNvSpPr/>
            <p:nvPr/>
          </p:nvSpPr>
          <p:spPr bwMode="auto">
            <a:xfrm>
              <a:off x="1984439" y="1213648"/>
              <a:ext cx="486395" cy="783497"/>
            </a:xfrm>
            <a:custGeom>
              <a:avLst/>
              <a:gdLst>
                <a:gd name="T0" fmla="*/ 388 w 388"/>
                <a:gd name="T1" fmla="*/ 60 h 625"/>
                <a:gd name="T2" fmla="*/ 175 w 388"/>
                <a:gd name="T3" fmla="*/ 625 h 625"/>
                <a:gd name="T4" fmla="*/ 0 w 388"/>
                <a:gd name="T5" fmla="*/ 563 h 625"/>
                <a:gd name="T6" fmla="*/ 228 w 388"/>
                <a:gd name="T7" fmla="*/ 0 h 625"/>
                <a:gd name="T8" fmla="*/ 388 w 388"/>
                <a:gd name="T9" fmla="*/ 6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625">
                  <a:moveTo>
                    <a:pt x="388" y="60"/>
                  </a:moveTo>
                  <a:lnTo>
                    <a:pt x="175" y="625"/>
                  </a:lnTo>
                  <a:lnTo>
                    <a:pt x="0" y="563"/>
                  </a:lnTo>
                  <a:lnTo>
                    <a:pt x="228" y="0"/>
                  </a:lnTo>
                  <a:lnTo>
                    <a:pt x="388" y="60"/>
                  </a:ln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" name="íšľîḍe">
              <a:extLst>
                <a:ext uri="{FF2B5EF4-FFF2-40B4-BE49-F238E27FC236}">
                  <a16:creationId xmlns:a16="http://schemas.microsoft.com/office/drawing/2014/main" id="{812E8A66-FCBE-482E-8AE7-99B495A088D6}"/>
                </a:ext>
              </a:extLst>
            </p:cNvPr>
            <p:cNvSpPr/>
            <p:nvPr/>
          </p:nvSpPr>
          <p:spPr bwMode="auto">
            <a:xfrm>
              <a:off x="0" y="258409"/>
              <a:ext cx="2351742" cy="1755031"/>
            </a:xfrm>
            <a:custGeom>
              <a:avLst/>
              <a:gdLst>
                <a:gd name="T0" fmla="*/ 1876 w 1876"/>
                <a:gd name="T1" fmla="*/ 763 h 1400"/>
                <a:gd name="T2" fmla="*/ 1646 w 1876"/>
                <a:gd name="T3" fmla="*/ 1400 h 1400"/>
                <a:gd name="T4" fmla="*/ 0 w 1876"/>
                <a:gd name="T5" fmla="*/ 945 h 1400"/>
                <a:gd name="T6" fmla="*/ 0 w 1876"/>
                <a:gd name="T7" fmla="*/ 0 h 1400"/>
                <a:gd name="T8" fmla="*/ 1876 w 1876"/>
                <a:gd name="T9" fmla="*/ 763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6" h="1400">
                  <a:moveTo>
                    <a:pt x="1876" y="763"/>
                  </a:moveTo>
                  <a:lnTo>
                    <a:pt x="1646" y="1400"/>
                  </a:lnTo>
                  <a:lnTo>
                    <a:pt x="0" y="945"/>
                  </a:lnTo>
                  <a:lnTo>
                    <a:pt x="0" y="0"/>
                  </a:lnTo>
                  <a:lnTo>
                    <a:pt x="1876" y="76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" name="ïṥļîḓé">
              <a:extLst>
                <a:ext uri="{FF2B5EF4-FFF2-40B4-BE49-F238E27FC236}">
                  <a16:creationId xmlns:a16="http://schemas.microsoft.com/office/drawing/2014/main" id="{C0F80E04-81FF-4E42-856E-B4B52D313289}"/>
                </a:ext>
              </a:extLst>
            </p:cNvPr>
            <p:cNvSpPr/>
            <p:nvPr/>
          </p:nvSpPr>
          <p:spPr bwMode="auto">
            <a:xfrm>
              <a:off x="2003243" y="1201112"/>
              <a:ext cx="162968" cy="162968"/>
            </a:xfrm>
            <a:custGeom>
              <a:avLst/>
              <a:gdLst>
                <a:gd name="T0" fmla="*/ 6 w 129"/>
                <a:gd name="T1" fmla="*/ 78 h 130"/>
                <a:gd name="T2" fmla="*/ 77 w 129"/>
                <a:gd name="T3" fmla="*/ 123 h 130"/>
                <a:gd name="T4" fmla="*/ 123 w 129"/>
                <a:gd name="T5" fmla="*/ 53 h 130"/>
                <a:gd name="T6" fmla="*/ 52 w 129"/>
                <a:gd name="T7" fmla="*/ 7 h 130"/>
                <a:gd name="T8" fmla="*/ 6 w 129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" y="78"/>
                  </a:moveTo>
                  <a:cubicBezTo>
                    <a:pt x="13" y="110"/>
                    <a:pt x="45" y="130"/>
                    <a:pt x="77" y="123"/>
                  </a:cubicBezTo>
                  <a:cubicBezTo>
                    <a:pt x="109" y="116"/>
                    <a:pt x="129" y="85"/>
                    <a:pt x="123" y="53"/>
                  </a:cubicBezTo>
                  <a:cubicBezTo>
                    <a:pt x="116" y="21"/>
                    <a:pt x="84" y="0"/>
                    <a:pt x="52" y="7"/>
                  </a:cubicBezTo>
                  <a:cubicBezTo>
                    <a:pt x="20" y="14"/>
                    <a:pt x="0" y="45"/>
                    <a:pt x="6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7" name="ïṩļíḑè">
              <a:extLst>
                <a:ext uri="{FF2B5EF4-FFF2-40B4-BE49-F238E27FC236}">
                  <a16:creationId xmlns:a16="http://schemas.microsoft.com/office/drawing/2014/main" id="{7ABCBA7D-C2AB-4EC2-A3D3-5DB3C034299C}"/>
                </a:ext>
              </a:extLst>
            </p:cNvPr>
            <p:cNvSpPr/>
            <p:nvPr/>
          </p:nvSpPr>
          <p:spPr bwMode="auto">
            <a:xfrm>
              <a:off x="1708648" y="1089542"/>
              <a:ext cx="162968" cy="162968"/>
            </a:xfrm>
            <a:custGeom>
              <a:avLst/>
              <a:gdLst>
                <a:gd name="T0" fmla="*/ 7 w 130"/>
                <a:gd name="T1" fmla="*/ 78 h 130"/>
                <a:gd name="T2" fmla="*/ 77 w 130"/>
                <a:gd name="T3" fmla="*/ 123 h 130"/>
                <a:gd name="T4" fmla="*/ 123 w 130"/>
                <a:gd name="T5" fmla="*/ 53 h 130"/>
                <a:gd name="T6" fmla="*/ 52 w 130"/>
                <a:gd name="T7" fmla="*/ 7 h 130"/>
                <a:gd name="T8" fmla="*/ 7 w 130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7" y="78"/>
                  </a:moveTo>
                  <a:cubicBezTo>
                    <a:pt x="14" y="110"/>
                    <a:pt x="45" y="130"/>
                    <a:pt x="77" y="123"/>
                  </a:cubicBezTo>
                  <a:cubicBezTo>
                    <a:pt x="109" y="116"/>
                    <a:pt x="130" y="85"/>
                    <a:pt x="123" y="53"/>
                  </a:cubicBezTo>
                  <a:cubicBezTo>
                    <a:pt x="116" y="21"/>
                    <a:pt x="85" y="0"/>
                    <a:pt x="52" y="7"/>
                  </a:cubicBezTo>
                  <a:cubicBezTo>
                    <a:pt x="20" y="14"/>
                    <a:pt x="0" y="45"/>
                    <a:pt x="7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8" name="ïṩḻiďè">
              <a:extLst>
                <a:ext uri="{FF2B5EF4-FFF2-40B4-BE49-F238E27FC236}">
                  <a16:creationId xmlns:a16="http://schemas.microsoft.com/office/drawing/2014/main" id="{62F84EB4-B97F-4C78-A587-383F08F8FF41}"/>
                </a:ext>
              </a:extLst>
            </p:cNvPr>
            <p:cNvSpPr/>
            <p:nvPr/>
          </p:nvSpPr>
          <p:spPr bwMode="auto">
            <a:xfrm>
              <a:off x="1406532" y="969197"/>
              <a:ext cx="164221" cy="164221"/>
            </a:xfrm>
            <a:custGeom>
              <a:avLst/>
              <a:gdLst>
                <a:gd name="T0" fmla="*/ 7 w 130"/>
                <a:gd name="T1" fmla="*/ 78 h 130"/>
                <a:gd name="T2" fmla="*/ 78 w 130"/>
                <a:gd name="T3" fmla="*/ 123 h 130"/>
                <a:gd name="T4" fmla="*/ 123 w 130"/>
                <a:gd name="T5" fmla="*/ 53 h 130"/>
                <a:gd name="T6" fmla="*/ 53 w 130"/>
                <a:gd name="T7" fmla="*/ 7 h 130"/>
                <a:gd name="T8" fmla="*/ 7 w 130"/>
                <a:gd name="T9" fmla="*/ 7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7" y="78"/>
                  </a:moveTo>
                  <a:cubicBezTo>
                    <a:pt x="14" y="110"/>
                    <a:pt x="46" y="130"/>
                    <a:pt x="78" y="123"/>
                  </a:cubicBezTo>
                  <a:cubicBezTo>
                    <a:pt x="110" y="116"/>
                    <a:pt x="130" y="85"/>
                    <a:pt x="123" y="53"/>
                  </a:cubicBezTo>
                  <a:cubicBezTo>
                    <a:pt x="117" y="21"/>
                    <a:pt x="85" y="0"/>
                    <a:pt x="53" y="7"/>
                  </a:cubicBezTo>
                  <a:cubicBezTo>
                    <a:pt x="21" y="14"/>
                    <a:pt x="0" y="46"/>
                    <a:pt x="7" y="78"/>
                  </a:cubicBezTo>
                  <a:close/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9" name="iṩľíḑê">
              <a:extLst>
                <a:ext uri="{FF2B5EF4-FFF2-40B4-BE49-F238E27FC236}">
                  <a16:creationId xmlns:a16="http://schemas.microsoft.com/office/drawing/2014/main" id="{F6F7AB3C-A739-4915-9348-62E0C81A7F00}"/>
                </a:ext>
              </a:extLst>
            </p:cNvPr>
            <p:cNvSpPr/>
            <p:nvPr/>
          </p:nvSpPr>
          <p:spPr bwMode="auto">
            <a:xfrm>
              <a:off x="2373053" y="2151336"/>
              <a:ext cx="1449155" cy="1327556"/>
            </a:xfrm>
            <a:custGeom>
              <a:avLst/>
              <a:gdLst>
                <a:gd name="T0" fmla="*/ 704 w 1154"/>
                <a:gd name="T1" fmla="*/ 163 h 1058"/>
                <a:gd name="T2" fmla="*/ 230 w 1154"/>
                <a:gd name="T3" fmla="*/ 629 h 1058"/>
                <a:gd name="T4" fmla="*/ 704 w 1154"/>
                <a:gd name="T5" fmla="*/ 163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4" h="1058">
                  <a:moveTo>
                    <a:pt x="704" y="163"/>
                  </a:moveTo>
                  <a:cubicBezTo>
                    <a:pt x="432" y="0"/>
                    <a:pt x="0" y="347"/>
                    <a:pt x="230" y="629"/>
                  </a:cubicBezTo>
                  <a:cubicBezTo>
                    <a:pt x="579" y="1058"/>
                    <a:pt x="1154" y="441"/>
                    <a:pt x="704" y="163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0" name="íŝľíḑê">
              <a:extLst>
                <a:ext uri="{FF2B5EF4-FFF2-40B4-BE49-F238E27FC236}">
                  <a16:creationId xmlns:a16="http://schemas.microsoft.com/office/drawing/2014/main" id="{6BD57FEC-8FB2-4B5D-971A-C37AE60771F8}"/>
                </a:ext>
              </a:extLst>
            </p:cNvPr>
            <p:cNvSpPr/>
            <p:nvPr/>
          </p:nvSpPr>
          <p:spPr bwMode="auto">
            <a:xfrm>
              <a:off x="2373053" y="2104953"/>
              <a:ext cx="1449155" cy="1328809"/>
            </a:xfrm>
            <a:custGeom>
              <a:avLst/>
              <a:gdLst>
                <a:gd name="T0" fmla="*/ 704 w 1154"/>
                <a:gd name="T1" fmla="*/ 164 h 1059"/>
                <a:gd name="T2" fmla="*/ 230 w 1154"/>
                <a:gd name="T3" fmla="*/ 630 h 1059"/>
                <a:gd name="T4" fmla="*/ 704 w 1154"/>
                <a:gd name="T5" fmla="*/ 164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4" h="1059">
                  <a:moveTo>
                    <a:pt x="704" y="164"/>
                  </a:moveTo>
                  <a:cubicBezTo>
                    <a:pt x="432" y="0"/>
                    <a:pt x="0" y="348"/>
                    <a:pt x="230" y="630"/>
                  </a:cubicBezTo>
                  <a:cubicBezTo>
                    <a:pt x="579" y="1059"/>
                    <a:pt x="1154" y="442"/>
                    <a:pt x="704" y="16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1" name="îṥļîdè">
              <a:extLst>
                <a:ext uri="{FF2B5EF4-FFF2-40B4-BE49-F238E27FC236}">
                  <a16:creationId xmlns:a16="http://schemas.microsoft.com/office/drawing/2014/main" id="{BFEEFAA0-D82E-43AF-A130-82C1ABEFEE76}"/>
                </a:ext>
              </a:extLst>
            </p:cNvPr>
            <p:cNvSpPr/>
            <p:nvPr/>
          </p:nvSpPr>
          <p:spPr bwMode="auto">
            <a:xfrm>
              <a:off x="2895803" y="2388265"/>
              <a:ext cx="234422" cy="567879"/>
            </a:xfrm>
            <a:custGeom>
              <a:avLst/>
              <a:gdLst>
                <a:gd name="T0" fmla="*/ 110 w 187"/>
                <a:gd name="T1" fmla="*/ 30 h 452"/>
                <a:gd name="T2" fmla="*/ 113 w 187"/>
                <a:gd name="T3" fmla="*/ 62 h 452"/>
                <a:gd name="T4" fmla="*/ 124 w 187"/>
                <a:gd name="T5" fmla="*/ 78 h 452"/>
                <a:gd name="T6" fmla="*/ 170 w 187"/>
                <a:gd name="T7" fmla="*/ 94 h 452"/>
                <a:gd name="T8" fmla="*/ 173 w 187"/>
                <a:gd name="T9" fmla="*/ 102 h 452"/>
                <a:gd name="T10" fmla="*/ 163 w 187"/>
                <a:gd name="T11" fmla="*/ 113 h 452"/>
                <a:gd name="T12" fmla="*/ 154 w 187"/>
                <a:gd name="T13" fmla="*/ 109 h 452"/>
                <a:gd name="T14" fmla="*/ 112 w 187"/>
                <a:gd name="T15" fmla="*/ 107 h 452"/>
                <a:gd name="T16" fmla="*/ 111 w 187"/>
                <a:gd name="T17" fmla="*/ 147 h 452"/>
                <a:gd name="T18" fmla="*/ 109 w 187"/>
                <a:gd name="T19" fmla="*/ 176 h 452"/>
                <a:gd name="T20" fmla="*/ 165 w 187"/>
                <a:gd name="T21" fmla="*/ 200 h 452"/>
                <a:gd name="T22" fmla="*/ 187 w 187"/>
                <a:gd name="T23" fmla="*/ 255 h 452"/>
                <a:gd name="T24" fmla="*/ 164 w 187"/>
                <a:gd name="T25" fmla="*/ 320 h 452"/>
                <a:gd name="T26" fmla="*/ 108 w 187"/>
                <a:gd name="T27" fmla="*/ 360 h 452"/>
                <a:gd name="T28" fmla="*/ 109 w 187"/>
                <a:gd name="T29" fmla="*/ 388 h 452"/>
                <a:gd name="T30" fmla="*/ 115 w 187"/>
                <a:gd name="T31" fmla="*/ 431 h 452"/>
                <a:gd name="T32" fmla="*/ 116 w 187"/>
                <a:gd name="T33" fmla="*/ 445 h 452"/>
                <a:gd name="T34" fmla="*/ 105 w 187"/>
                <a:gd name="T35" fmla="*/ 452 h 452"/>
                <a:gd name="T36" fmla="*/ 96 w 187"/>
                <a:gd name="T37" fmla="*/ 443 h 452"/>
                <a:gd name="T38" fmla="*/ 90 w 187"/>
                <a:gd name="T39" fmla="*/ 394 h 452"/>
                <a:gd name="T40" fmla="*/ 86 w 187"/>
                <a:gd name="T41" fmla="*/ 365 h 452"/>
                <a:gd name="T42" fmla="*/ 77 w 187"/>
                <a:gd name="T43" fmla="*/ 366 h 452"/>
                <a:gd name="T44" fmla="*/ 37 w 187"/>
                <a:gd name="T45" fmla="*/ 350 h 452"/>
                <a:gd name="T46" fmla="*/ 13 w 187"/>
                <a:gd name="T47" fmla="*/ 317 h 452"/>
                <a:gd name="T48" fmla="*/ 8 w 187"/>
                <a:gd name="T49" fmla="*/ 310 h 452"/>
                <a:gd name="T50" fmla="*/ 5 w 187"/>
                <a:gd name="T51" fmla="*/ 302 h 452"/>
                <a:gd name="T52" fmla="*/ 0 w 187"/>
                <a:gd name="T53" fmla="*/ 293 h 452"/>
                <a:gd name="T54" fmla="*/ 9 w 187"/>
                <a:gd name="T55" fmla="*/ 285 h 452"/>
                <a:gd name="T56" fmla="*/ 20 w 187"/>
                <a:gd name="T57" fmla="*/ 292 h 452"/>
                <a:gd name="T58" fmla="*/ 28 w 187"/>
                <a:gd name="T59" fmla="*/ 304 h 452"/>
                <a:gd name="T60" fmla="*/ 51 w 187"/>
                <a:gd name="T61" fmla="*/ 331 h 452"/>
                <a:gd name="T62" fmla="*/ 84 w 187"/>
                <a:gd name="T63" fmla="*/ 342 h 452"/>
                <a:gd name="T64" fmla="*/ 83 w 187"/>
                <a:gd name="T65" fmla="*/ 298 h 452"/>
                <a:gd name="T66" fmla="*/ 82 w 187"/>
                <a:gd name="T67" fmla="*/ 195 h 452"/>
                <a:gd name="T68" fmla="*/ 69 w 187"/>
                <a:gd name="T69" fmla="*/ 193 h 452"/>
                <a:gd name="T70" fmla="*/ 38 w 187"/>
                <a:gd name="T71" fmla="*/ 183 h 452"/>
                <a:gd name="T72" fmla="*/ 36 w 187"/>
                <a:gd name="T73" fmla="*/ 155 h 452"/>
                <a:gd name="T74" fmla="*/ 62 w 187"/>
                <a:gd name="T75" fmla="*/ 120 h 452"/>
                <a:gd name="T76" fmla="*/ 77 w 187"/>
                <a:gd name="T77" fmla="*/ 105 h 452"/>
                <a:gd name="T78" fmla="*/ 86 w 187"/>
                <a:gd name="T79" fmla="*/ 73 h 452"/>
                <a:gd name="T80" fmla="*/ 86 w 187"/>
                <a:gd name="T81" fmla="*/ 38 h 452"/>
                <a:gd name="T82" fmla="*/ 85 w 187"/>
                <a:gd name="T83" fmla="*/ 12 h 452"/>
                <a:gd name="T84" fmla="*/ 98 w 187"/>
                <a:gd name="T85" fmla="*/ 0 h 452"/>
                <a:gd name="T86" fmla="*/ 109 w 187"/>
                <a:gd name="T87" fmla="*/ 9 h 452"/>
                <a:gd name="T88" fmla="*/ 70 w 187"/>
                <a:gd name="T89" fmla="*/ 149 h 452"/>
                <a:gd name="T90" fmla="*/ 72 w 187"/>
                <a:gd name="T91" fmla="*/ 169 h 452"/>
                <a:gd name="T92" fmla="*/ 84 w 187"/>
                <a:gd name="T93" fmla="*/ 150 h 452"/>
                <a:gd name="T94" fmla="*/ 83 w 187"/>
                <a:gd name="T95" fmla="*/ 134 h 452"/>
                <a:gd name="T96" fmla="*/ 157 w 187"/>
                <a:gd name="T97" fmla="*/ 229 h 452"/>
                <a:gd name="T98" fmla="*/ 128 w 187"/>
                <a:gd name="T99" fmla="*/ 203 h 452"/>
                <a:gd name="T100" fmla="*/ 109 w 187"/>
                <a:gd name="T101" fmla="*/ 225 h 452"/>
                <a:gd name="T102" fmla="*/ 108 w 187"/>
                <a:gd name="T103" fmla="*/ 256 h 452"/>
                <a:gd name="T104" fmla="*/ 107 w 187"/>
                <a:gd name="T105" fmla="*/ 297 h 452"/>
                <a:gd name="T106" fmla="*/ 129 w 187"/>
                <a:gd name="T107" fmla="*/ 323 h 452"/>
                <a:gd name="T108" fmla="*/ 158 w 187"/>
                <a:gd name="T109" fmla="*/ 279 h 452"/>
                <a:gd name="T110" fmla="*/ 162 w 187"/>
                <a:gd name="T111" fmla="*/ 248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7" h="452">
                  <a:moveTo>
                    <a:pt x="109" y="9"/>
                  </a:moveTo>
                  <a:cubicBezTo>
                    <a:pt x="109" y="17"/>
                    <a:pt x="110" y="24"/>
                    <a:pt x="110" y="30"/>
                  </a:cubicBezTo>
                  <a:cubicBezTo>
                    <a:pt x="111" y="36"/>
                    <a:pt x="112" y="42"/>
                    <a:pt x="112" y="47"/>
                  </a:cubicBezTo>
                  <a:cubicBezTo>
                    <a:pt x="112" y="52"/>
                    <a:pt x="113" y="57"/>
                    <a:pt x="113" y="62"/>
                  </a:cubicBezTo>
                  <a:cubicBezTo>
                    <a:pt x="113" y="68"/>
                    <a:pt x="113" y="74"/>
                    <a:pt x="113" y="81"/>
                  </a:cubicBezTo>
                  <a:cubicBezTo>
                    <a:pt x="117" y="80"/>
                    <a:pt x="120" y="79"/>
                    <a:pt x="124" y="78"/>
                  </a:cubicBezTo>
                  <a:cubicBezTo>
                    <a:pt x="127" y="78"/>
                    <a:pt x="130" y="77"/>
                    <a:pt x="134" y="77"/>
                  </a:cubicBezTo>
                  <a:cubicBezTo>
                    <a:pt x="147" y="77"/>
                    <a:pt x="159" y="83"/>
                    <a:pt x="170" y="94"/>
                  </a:cubicBezTo>
                  <a:cubicBezTo>
                    <a:pt x="170" y="93"/>
                    <a:pt x="170" y="93"/>
                    <a:pt x="170" y="93"/>
                  </a:cubicBezTo>
                  <a:cubicBezTo>
                    <a:pt x="172" y="96"/>
                    <a:pt x="173" y="99"/>
                    <a:pt x="173" y="102"/>
                  </a:cubicBezTo>
                  <a:cubicBezTo>
                    <a:pt x="173" y="105"/>
                    <a:pt x="172" y="108"/>
                    <a:pt x="170" y="110"/>
                  </a:cubicBezTo>
                  <a:cubicBezTo>
                    <a:pt x="168" y="112"/>
                    <a:pt x="166" y="113"/>
                    <a:pt x="163" y="113"/>
                  </a:cubicBezTo>
                  <a:cubicBezTo>
                    <a:pt x="160" y="113"/>
                    <a:pt x="157" y="112"/>
                    <a:pt x="154" y="109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7" y="103"/>
                    <a:pt x="140" y="100"/>
                    <a:pt x="133" y="100"/>
                  </a:cubicBezTo>
                  <a:cubicBezTo>
                    <a:pt x="126" y="100"/>
                    <a:pt x="119" y="102"/>
                    <a:pt x="112" y="107"/>
                  </a:cubicBezTo>
                  <a:cubicBezTo>
                    <a:pt x="112" y="115"/>
                    <a:pt x="112" y="123"/>
                    <a:pt x="112" y="129"/>
                  </a:cubicBezTo>
                  <a:cubicBezTo>
                    <a:pt x="111" y="136"/>
                    <a:pt x="111" y="141"/>
                    <a:pt x="111" y="147"/>
                  </a:cubicBezTo>
                  <a:cubicBezTo>
                    <a:pt x="111" y="152"/>
                    <a:pt x="110" y="157"/>
                    <a:pt x="110" y="161"/>
                  </a:cubicBezTo>
                  <a:cubicBezTo>
                    <a:pt x="110" y="166"/>
                    <a:pt x="109" y="171"/>
                    <a:pt x="109" y="176"/>
                  </a:cubicBezTo>
                  <a:cubicBezTo>
                    <a:pt x="121" y="178"/>
                    <a:pt x="131" y="181"/>
                    <a:pt x="141" y="184"/>
                  </a:cubicBezTo>
                  <a:cubicBezTo>
                    <a:pt x="150" y="188"/>
                    <a:pt x="159" y="194"/>
                    <a:pt x="165" y="200"/>
                  </a:cubicBezTo>
                  <a:cubicBezTo>
                    <a:pt x="172" y="207"/>
                    <a:pt x="177" y="214"/>
                    <a:pt x="181" y="224"/>
                  </a:cubicBezTo>
                  <a:cubicBezTo>
                    <a:pt x="185" y="233"/>
                    <a:pt x="187" y="243"/>
                    <a:pt x="187" y="255"/>
                  </a:cubicBezTo>
                  <a:cubicBezTo>
                    <a:pt x="187" y="267"/>
                    <a:pt x="185" y="279"/>
                    <a:pt x="181" y="290"/>
                  </a:cubicBezTo>
                  <a:cubicBezTo>
                    <a:pt x="177" y="301"/>
                    <a:pt x="171" y="311"/>
                    <a:pt x="164" y="320"/>
                  </a:cubicBezTo>
                  <a:cubicBezTo>
                    <a:pt x="157" y="329"/>
                    <a:pt x="149" y="338"/>
                    <a:pt x="139" y="344"/>
                  </a:cubicBezTo>
                  <a:cubicBezTo>
                    <a:pt x="130" y="351"/>
                    <a:pt x="119" y="357"/>
                    <a:pt x="108" y="360"/>
                  </a:cubicBezTo>
                  <a:cubicBezTo>
                    <a:pt x="108" y="366"/>
                    <a:pt x="108" y="371"/>
                    <a:pt x="108" y="375"/>
                  </a:cubicBezTo>
                  <a:cubicBezTo>
                    <a:pt x="109" y="379"/>
                    <a:pt x="109" y="383"/>
                    <a:pt x="109" y="388"/>
                  </a:cubicBezTo>
                  <a:cubicBezTo>
                    <a:pt x="110" y="392"/>
                    <a:pt x="110" y="398"/>
                    <a:pt x="111" y="404"/>
                  </a:cubicBezTo>
                  <a:cubicBezTo>
                    <a:pt x="112" y="411"/>
                    <a:pt x="113" y="420"/>
                    <a:pt x="115" y="431"/>
                  </a:cubicBezTo>
                  <a:cubicBezTo>
                    <a:pt x="115" y="434"/>
                    <a:pt x="115" y="436"/>
                    <a:pt x="115" y="438"/>
                  </a:cubicBezTo>
                  <a:cubicBezTo>
                    <a:pt x="116" y="440"/>
                    <a:pt x="116" y="442"/>
                    <a:pt x="116" y="445"/>
                  </a:cubicBezTo>
                  <a:cubicBezTo>
                    <a:pt x="116" y="447"/>
                    <a:pt x="115" y="449"/>
                    <a:pt x="112" y="450"/>
                  </a:cubicBezTo>
                  <a:cubicBezTo>
                    <a:pt x="109" y="452"/>
                    <a:pt x="107" y="452"/>
                    <a:pt x="105" y="452"/>
                  </a:cubicBezTo>
                  <a:cubicBezTo>
                    <a:pt x="103" y="452"/>
                    <a:pt x="101" y="452"/>
                    <a:pt x="99" y="450"/>
                  </a:cubicBezTo>
                  <a:cubicBezTo>
                    <a:pt x="97" y="449"/>
                    <a:pt x="96" y="446"/>
                    <a:pt x="96" y="443"/>
                  </a:cubicBezTo>
                  <a:cubicBezTo>
                    <a:pt x="94" y="431"/>
                    <a:pt x="93" y="422"/>
                    <a:pt x="92" y="414"/>
                  </a:cubicBezTo>
                  <a:cubicBezTo>
                    <a:pt x="91" y="406"/>
                    <a:pt x="91" y="400"/>
                    <a:pt x="90" y="394"/>
                  </a:cubicBezTo>
                  <a:cubicBezTo>
                    <a:pt x="89" y="389"/>
                    <a:pt x="89" y="384"/>
                    <a:pt x="88" y="379"/>
                  </a:cubicBezTo>
                  <a:cubicBezTo>
                    <a:pt x="88" y="375"/>
                    <a:pt x="87" y="370"/>
                    <a:pt x="86" y="365"/>
                  </a:cubicBezTo>
                  <a:cubicBezTo>
                    <a:pt x="85" y="366"/>
                    <a:pt x="84" y="366"/>
                    <a:pt x="82" y="366"/>
                  </a:cubicBezTo>
                  <a:cubicBezTo>
                    <a:pt x="80" y="366"/>
                    <a:pt x="79" y="366"/>
                    <a:pt x="77" y="366"/>
                  </a:cubicBezTo>
                  <a:cubicBezTo>
                    <a:pt x="68" y="366"/>
                    <a:pt x="60" y="365"/>
                    <a:pt x="54" y="361"/>
                  </a:cubicBezTo>
                  <a:cubicBezTo>
                    <a:pt x="47" y="358"/>
                    <a:pt x="42" y="354"/>
                    <a:pt x="37" y="350"/>
                  </a:cubicBezTo>
                  <a:cubicBezTo>
                    <a:pt x="32" y="345"/>
                    <a:pt x="27" y="340"/>
                    <a:pt x="23" y="334"/>
                  </a:cubicBezTo>
                  <a:cubicBezTo>
                    <a:pt x="20" y="328"/>
                    <a:pt x="16" y="322"/>
                    <a:pt x="13" y="317"/>
                  </a:cubicBezTo>
                  <a:cubicBezTo>
                    <a:pt x="13" y="317"/>
                    <a:pt x="13" y="317"/>
                    <a:pt x="13" y="317"/>
                  </a:cubicBezTo>
                  <a:cubicBezTo>
                    <a:pt x="11" y="314"/>
                    <a:pt x="10" y="312"/>
                    <a:pt x="8" y="310"/>
                  </a:cubicBezTo>
                  <a:cubicBezTo>
                    <a:pt x="7" y="307"/>
                    <a:pt x="6" y="305"/>
                    <a:pt x="5" y="303"/>
                  </a:cubicBezTo>
                  <a:cubicBezTo>
                    <a:pt x="5" y="302"/>
                    <a:pt x="5" y="302"/>
                    <a:pt x="5" y="302"/>
                  </a:cubicBezTo>
                  <a:cubicBezTo>
                    <a:pt x="3" y="301"/>
                    <a:pt x="2" y="300"/>
                    <a:pt x="1" y="298"/>
                  </a:cubicBezTo>
                  <a:cubicBezTo>
                    <a:pt x="0" y="296"/>
                    <a:pt x="0" y="294"/>
                    <a:pt x="0" y="293"/>
                  </a:cubicBezTo>
                  <a:cubicBezTo>
                    <a:pt x="0" y="291"/>
                    <a:pt x="1" y="289"/>
                    <a:pt x="2" y="287"/>
                  </a:cubicBezTo>
                  <a:cubicBezTo>
                    <a:pt x="4" y="286"/>
                    <a:pt x="6" y="285"/>
                    <a:pt x="9" y="285"/>
                  </a:cubicBezTo>
                  <a:cubicBezTo>
                    <a:pt x="11" y="285"/>
                    <a:pt x="13" y="286"/>
                    <a:pt x="15" y="287"/>
                  </a:cubicBezTo>
                  <a:cubicBezTo>
                    <a:pt x="17" y="288"/>
                    <a:pt x="18" y="290"/>
                    <a:pt x="20" y="292"/>
                  </a:cubicBezTo>
                  <a:cubicBezTo>
                    <a:pt x="22" y="294"/>
                    <a:pt x="23" y="296"/>
                    <a:pt x="24" y="298"/>
                  </a:cubicBezTo>
                  <a:cubicBezTo>
                    <a:pt x="26" y="301"/>
                    <a:pt x="27" y="302"/>
                    <a:pt x="28" y="304"/>
                  </a:cubicBezTo>
                  <a:cubicBezTo>
                    <a:pt x="32" y="309"/>
                    <a:pt x="36" y="314"/>
                    <a:pt x="39" y="319"/>
                  </a:cubicBezTo>
                  <a:cubicBezTo>
                    <a:pt x="43" y="323"/>
                    <a:pt x="47" y="327"/>
                    <a:pt x="51" y="331"/>
                  </a:cubicBezTo>
                  <a:cubicBezTo>
                    <a:pt x="55" y="334"/>
                    <a:pt x="60" y="337"/>
                    <a:pt x="65" y="339"/>
                  </a:cubicBezTo>
                  <a:cubicBezTo>
                    <a:pt x="70" y="341"/>
                    <a:pt x="77" y="342"/>
                    <a:pt x="84" y="342"/>
                  </a:cubicBezTo>
                  <a:cubicBezTo>
                    <a:pt x="83" y="337"/>
                    <a:pt x="83" y="331"/>
                    <a:pt x="83" y="324"/>
                  </a:cubicBezTo>
                  <a:cubicBezTo>
                    <a:pt x="83" y="318"/>
                    <a:pt x="83" y="309"/>
                    <a:pt x="83" y="298"/>
                  </a:cubicBezTo>
                  <a:cubicBezTo>
                    <a:pt x="82" y="288"/>
                    <a:pt x="82" y="274"/>
                    <a:pt x="82" y="258"/>
                  </a:cubicBezTo>
                  <a:cubicBezTo>
                    <a:pt x="82" y="241"/>
                    <a:pt x="82" y="220"/>
                    <a:pt x="82" y="195"/>
                  </a:cubicBezTo>
                  <a:cubicBezTo>
                    <a:pt x="82" y="195"/>
                    <a:pt x="82" y="195"/>
                    <a:pt x="82" y="195"/>
                  </a:cubicBezTo>
                  <a:cubicBezTo>
                    <a:pt x="79" y="194"/>
                    <a:pt x="75" y="194"/>
                    <a:pt x="69" y="193"/>
                  </a:cubicBezTo>
                  <a:cubicBezTo>
                    <a:pt x="64" y="192"/>
                    <a:pt x="58" y="190"/>
                    <a:pt x="53" y="189"/>
                  </a:cubicBezTo>
                  <a:cubicBezTo>
                    <a:pt x="47" y="187"/>
                    <a:pt x="42" y="185"/>
                    <a:pt x="38" y="183"/>
                  </a:cubicBezTo>
                  <a:cubicBezTo>
                    <a:pt x="34" y="180"/>
                    <a:pt x="32" y="178"/>
                    <a:pt x="32" y="174"/>
                  </a:cubicBezTo>
                  <a:cubicBezTo>
                    <a:pt x="32" y="168"/>
                    <a:pt x="34" y="162"/>
                    <a:pt x="36" y="155"/>
                  </a:cubicBezTo>
                  <a:cubicBezTo>
                    <a:pt x="39" y="149"/>
                    <a:pt x="43" y="143"/>
                    <a:pt x="47" y="137"/>
                  </a:cubicBezTo>
                  <a:cubicBezTo>
                    <a:pt x="52" y="131"/>
                    <a:pt x="57" y="125"/>
                    <a:pt x="62" y="120"/>
                  </a:cubicBezTo>
                  <a:cubicBezTo>
                    <a:pt x="67" y="115"/>
                    <a:pt x="73" y="110"/>
                    <a:pt x="78" y="105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87"/>
                    <a:pt x="86" y="79"/>
                    <a:pt x="86" y="73"/>
                  </a:cubicBezTo>
                  <a:cubicBezTo>
                    <a:pt x="86" y="67"/>
                    <a:pt x="86" y="61"/>
                    <a:pt x="86" y="56"/>
                  </a:cubicBezTo>
                  <a:cubicBezTo>
                    <a:pt x="86" y="50"/>
                    <a:pt x="86" y="44"/>
                    <a:pt x="86" y="38"/>
                  </a:cubicBezTo>
                  <a:cubicBezTo>
                    <a:pt x="85" y="32"/>
                    <a:pt x="85" y="24"/>
                    <a:pt x="85" y="15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8"/>
                    <a:pt x="86" y="5"/>
                    <a:pt x="89" y="3"/>
                  </a:cubicBezTo>
                  <a:cubicBezTo>
                    <a:pt x="91" y="1"/>
                    <a:pt x="94" y="0"/>
                    <a:pt x="98" y="0"/>
                  </a:cubicBezTo>
                  <a:cubicBezTo>
                    <a:pt x="100" y="0"/>
                    <a:pt x="102" y="0"/>
                    <a:pt x="104" y="2"/>
                  </a:cubicBezTo>
                  <a:cubicBezTo>
                    <a:pt x="106" y="3"/>
                    <a:pt x="108" y="5"/>
                    <a:pt x="109" y="9"/>
                  </a:cubicBezTo>
                  <a:close/>
                  <a:moveTo>
                    <a:pt x="83" y="134"/>
                  </a:moveTo>
                  <a:cubicBezTo>
                    <a:pt x="78" y="138"/>
                    <a:pt x="74" y="144"/>
                    <a:pt x="70" y="149"/>
                  </a:cubicBezTo>
                  <a:cubicBezTo>
                    <a:pt x="65" y="154"/>
                    <a:pt x="63" y="160"/>
                    <a:pt x="62" y="166"/>
                  </a:cubicBezTo>
                  <a:cubicBezTo>
                    <a:pt x="65" y="167"/>
                    <a:pt x="68" y="168"/>
                    <a:pt x="72" y="169"/>
                  </a:cubicBezTo>
                  <a:cubicBezTo>
                    <a:pt x="75" y="169"/>
                    <a:pt x="79" y="170"/>
                    <a:pt x="82" y="171"/>
                  </a:cubicBezTo>
                  <a:cubicBezTo>
                    <a:pt x="83" y="163"/>
                    <a:pt x="83" y="156"/>
                    <a:pt x="84" y="150"/>
                  </a:cubicBezTo>
                  <a:cubicBezTo>
                    <a:pt x="84" y="145"/>
                    <a:pt x="85" y="138"/>
                    <a:pt x="85" y="131"/>
                  </a:cubicBezTo>
                  <a:cubicBezTo>
                    <a:pt x="84" y="132"/>
                    <a:pt x="83" y="133"/>
                    <a:pt x="83" y="134"/>
                  </a:cubicBezTo>
                  <a:close/>
                  <a:moveTo>
                    <a:pt x="162" y="248"/>
                  </a:moveTo>
                  <a:cubicBezTo>
                    <a:pt x="162" y="241"/>
                    <a:pt x="160" y="234"/>
                    <a:pt x="157" y="229"/>
                  </a:cubicBezTo>
                  <a:cubicBezTo>
                    <a:pt x="154" y="223"/>
                    <a:pt x="150" y="218"/>
                    <a:pt x="145" y="213"/>
                  </a:cubicBezTo>
                  <a:cubicBezTo>
                    <a:pt x="140" y="209"/>
                    <a:pt x="134" y="205"/>
                    <a:pt x="128" y="203"/>
                  </a:cubicBezTo>
                  <a:cubicBezTo>
                    <a:pt x="122" y="200"/>
                    <a:pt x="115" y="199"/>
                    <a:pt x="109" y="198"/>
                  </a:cubicBezTo>
                  <a:cubicBezTo>
                    <a:pt x="109" y="209"/>
                    <a:pt x="109" y="218"/>
                    <a:pt x="109" y="225"/>
                  </a:cubicBezTo>
                  <a:cubicBezTo>
                    <a:pt x="109" y="232"/>
                    <a:pt x="109" y="238"/>
                    <a:pt x="109" y="242"/>
                  </a:cubicBezTo>
                  <a:cubicBezTo>
                    <a:pt x="108" y="247"/>
                    <a:pt x="108" y="252"/>
                    <a:pt x="108" y="256"/>
                  </a:cubicBezTo>
                  <a:cubicBezTo>
                    <a:pt x="108" y="260"/>
                    <a:pt x="108" y="266"/>
                    <a:pt x="107" y="272"/>
                  </a:cubicBezTo>
                  <a:cubicBezTo>
                    <a:pt x="107" y="279"/>
                    <a:pt x="107" y="287"/>
                    <a:pt x="107" y="297"/>
                  </a:cubicBezTo>
                  <a:cubicBezTo>
                    <a:pt x="107" y="307"/>
                    <a:pt x="107" y="321"/>
                    <a:pt x="107" y="337"/>
                  </a:cubicBezTo>
                  <a:cubicBezTo>
                    <a:pt x="115" y="333"/>
                    <a:pt x="123" y="329"/>
                    <a:pt x="129" y="323"/>
                  </a:cubicBezTo>
                  <a:cubicBezTo>
                    <a:pt x="136" y="317"/>
                    <a:pt x="142" y="310"/>
                    <a:pt x="147" y="303"/>
                  </a:cubicBezTo>
                  <a:cubicBezTo>
                    <a:pt x="151" y="295"/>
                    <a:pt x="155" y="287"/>
                    <a:pt x="158" y="279"/>
                  </a:cubicBezTo>
                  <a:cubicBezTo>
                    <a:pt x="160" y="270"/>
                    <a:pt x="162" y="262"/>
                    <a:pt x="162" y="253"/>
                  </a:cubicBezTo>
                  <a:lnTo>
                    <a:pt x="162" y="24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2" name="işļiḋè">
              <a:extLst>
                <a:ext uri="{FF2B5EF4-FFF2-40B4-BE49-F238E27FC236}">
                  <a16:creationId xmlns:a16="http://schemas.microsoft.com/office/drawing/2014/main" id="{882ECF22-FEE3-4558-87EA-BA73A3778B35}"/>
                </a:ext>
              </a:extLst>
            </p:cNvPr>
            <p:cNvSpPr/>
            <p:nvPr/>
          </p:nvSpPr>
          <p:spPr bwMode="auto">
            <a:xfrm>
              <a:off x="2549810" y="2183929"/>
              <a:ext cx="896320" cy="885037"/>
            </a:xfrm>
            <a:custGeom>
              <a:avLst/>
              <a:gdLst>
                <a:gd name="T0" fmla="*/ 549 w 713"/>
                <a:gd name="T1" fmla="*/ 121 h 705"/>
                <a:gd name="T2" fmla="*/ 55 w 713"/>
                <a:gd name="T3" fmla="*/ 448 h 705"/>
                <a:gd name="T4" fmla="*/ 320 w 713"/>
                <a:gd name="T5" fmla="*/ 687 h 705"/>
                <a:gd name="T6" fmla="*/ 601 w 713"/>
                <a:gd name="T7" fmla="*/ 591 h 705"/>
                <a:gd name="T8" fmla="*/ 702 w 713"/>
                <a:gd name="T9" fmla="*/ 356 h 705"/>
                <a:gd name="T10" fmla="*/ 549 w 713"/>
                <a:gd name="T11" fmla="*/ 121 h 705"/>
                <a:gd name="T12" fmla="*/ 541 w 713"/>
                <a:gd name="T13" fmla="*/ 135 h 705"/>
                <a:gd name="T14" fmla="*/ 674 w 713"/>
                <a:gd name="T15" fmla="*/ 445 h 705"/>
                <a:gd name="T16" fmla="*/ 437 w 713"/>
                <a:gd name="T17" fmla="*/ 666 h 705"/>
                <a:gd name="T18" fmla="*/ 97 w 713"/>
                <a:gd name="T19" fmla="*/ 509 h 705"/>
                <a:gd name="T20" fmla="*/ 218 w 713"/>
                <a:gd name="T21" fmla="*/ 154 h 705"/>
                <a:gd name="T22" fmla="*/ 541 w 713"/>
                <a:gd name="T23" fmla="*/ 135 h 705"/>
                <a:gd name="T24" fmla="*/ 549 w 713"/>
                <a:gd name="T25" fmla="*/ 12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3" h="705">
                  <a:moveTo>
                    <a:pt x="549" y="121"/>
                  </a:moveTo>
                  <a:cubicBezTo>
                    <a:pt x="341" y="0"/>
                    <a:pt x="0" y="194"/>
                    <a:pt x="55" y="448"/>
                  </a:cubicBezTo>
                  <a:cubicBezTo>
                    <a:pt x="81" y="567"/>
                    <a:pt x="204" y="667"/>
                    <a:pt x="320" y="687"/>
                  </a:cubicBezTo>
                  <a:cubicBezTo>
                    <a:pt x="423" y="705"/>
                    <a:pt x="527" y="662"/>
                    <a:pt x="601" y="591"/>
                  </a:cubicBezTo>
                  <a:cubicBezTo>
                    <a:pt x="664" y="531"/>
                    <a:pt x="705" y="445"/>
                    <a:pt x="702" y="356"/>
                  </a:cubicBezTo>
                  <a:cubicBezTo>
                    <a:pt x="700" y="254"/>
                    <a:pt x="632" y="173"/>
                    <a:pt x="549" y="121"/>
                  </a:cubicBezTo>
                  <a:cubicBezTo>
                    <a:pt x="540" y="115"/>
                    <a:pt x="532" y="129"/>
                    <a:pt x="541" y="135"/>
                  </a:cubicBezTo>
                  <a:cubicBezTo>
                    <a:pt x="650" y="204"/>
                    <a:pt x="713" y="317"/>
                    <a:pt x="674" y="445"/>
                  </a:cubicBezTo>
                  <a:cubicBezTo>
                    <a:pt x="641" y="553"/>
                    <a:pt x="545" y="638"/>
                    <a:pt x="437" y="666"/>
                  </a:cubicBezTo>
                  <a:cubicBezTo>
                    <a:pt x="302" y="702"/>
                    <a:pt x="167" y="624"/>
                    <a:pt x="97" y="509"/>
                  </a:cubicBezTo>
                  <a:cubicBezTo>
                    <a:pt x="17" y="377"/>
                    <a:pt x="102" y="229"/>
                    <a:pt x="218" y="154"/>
                  </a:cubicBezTo>
                  <a:cubicBezTo>
                    <a:pt x="314" y="93"/>
                    <a:pt x="440" y="76"/>
                    <a:pt x="541" y="135"/>
                  </a:cubicBezTo>
                  <a:cubicBezTo>
                    <a:pt x="550" y="140"/>
                    <a:pt x="558" y="126"/>
                    <a:pt x="549" y="121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3" name="ïṥ1íďè">
              <a:extLst>
                <a:ext uri="{FF2B5EF4-FFF2-40B4-BE49-F238E27FC236}">
                  <a16:creationId xmlns:a16="http://schemas.microsoft.com/office/drawing/2014/main" id="{8E1C7E25-A329-4F67-983C-499E9615D6C3}"/>
                </a:ext>
              </a:extLst>
            </p:cNvPr>
            <p:cNvSpPr/>
            <p:nvPr/>
          </p:nvSpPr>
          <p:spPr bwMode="auto">
            <a:xfrm>
              <a:off x="3965118" y="2839559"/>
              <a:ext cx="488902" cy="423715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4" name="îśḻiḑe">
              <a:extLst>
                <a:ext uri="{FF2B5EF4-FFF2-40B4-BE49-F238E27FC236}">
                  <a16:creationId xmlns:a16="http://schemas.microsoft.com/office/drawing/2014/main" id="{DD22954F-74AF-4F17-AE2F-28AC7D0A59B4}"/>
                </a:ext>
              </a:extLst>
            </p:cNvPr>
            <p:cNvSpPr/>
            <p:nvPr/>
          </p:nvSpPr>
          <p:spPr bwMode="auto">
            <a:xfrm>
              <a:off x="3965118" y="2839559"/>
              <a:ext cx="488902" cy="4237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5" name="îṡḻïḍe">
              <a:extLst>
                <a:ext uri="{FF2B5EF4-FFF2-40B4-BE49-F238E27FC236}">
                  <a16:creationId xmlns:a16="http://schemas.microsoft.com/office/drawing/2014/main" id="{A156A7C8-0F6F-46BA-A4A2-F46E2F18D4BE}"/>
                </a:ext>
              </a:extLst>
            </p:cNvPr>
            <p:cNvSpPr/>
            <p:nvPr/>
          </p:nvSpPr>
          <p:spPr bwMode="auto">
            <a:xfrm>
              <a:off x="3918736" y="2740525"/>
              <a:ext cx="581668" cy="164221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6" name="iṥḻîḓe">
              <a:extLst>
                <a:ext uri="{FF2B5EF4-FFF2-40B4-BE49-F238E27FC236}">
                  <a16:creationId xmlns:a16="http://schemas.microsoft.com/office/drawing/2014/main" id="{8F5B7D02-8929-46D9-B6D6-B03FACB38918}"/>
                </a:ext>
              </a:extLst>
            </p:cNvPr>
            <p:cNvSpPr/>
            <p:nvPr/>
          </p:nvSpPr>
          <p:spPr bwMode="auto">
            <a:xfrm>
              <a:off x="3918736" y="2740525"/>
              <a:ext cx="581668" cy="164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7" name="ïSľíďê">
              <a:extLst>
                <a:ext uri="{FF2B5EF4-FFF2-40B4-BE49-F238E27FC236}">
                  <a16:creationId xmlns:a16="http://schemas.microsoft.com/office/drawing/2014/main" id="{EE59A564-95ED-43E4-9A7A-1F0010917BA7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138020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8" name="îSliḍe">
              <a:extLst>
                <a:ext uri="{FF2B5EF4-FFF2-40B4-BE49-F238E27FC236}">
                  <a16:creationId xmlns:a16="http://schemas.microsoft.com/office/drawing/2014/main" id="{7AB541CF-7A43-4163-8A5B-F1DF3C3A88B6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1380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9" name="îşḻiḑè">
              <a:extLst>
                <a:ext uri="{FF2B5EF4-FFF2-40B4-BE49-F238E27FC236}">
                  <a16:creationId xmlns:a16="http://schemas.microsoft.com/office/drawing/2014/main" id="{06C20AC1-675D-4B32-96D3-7730CA58B8FC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91513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0" name="ïṩ1îdé">
              <a:extLst>
                <a:ext uri="{FF2B5EF4-FFF2-40B4-BE49-F238E27FC236}">
                  <a16:creationId xmlns:a16="http://schemas.microsoft.com/office/drawing/2014/main" id="{C7AA4985-5803-4F41-A8ED-33B16A17BB93}"/>
                </a:ext>
              </a:extLst>
            </p:cNvPr>
            <p:cNvSpPr/>
            <p:nvPr/>
          </p:nvSpPr>
          <p:spPr bwMode="auto">
            <a:xfrm>
              <a:off x="1514341" y="4155832"/>
              <a:ext cx="3017401" cy="91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1" name="îṡļíďé">
              <a:extLst>
                <a:ext uri="{FF2B5EF4-FFF2-40B4-BE49-F238E27FC236}">
                  <a16:creationId xmlns:a16="http://schemas.microsoft.com/office/drawing/2014/main" id="{29071286-9E50-4F59-A28A-41638A71F968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2686 w 2686"/>
                <a:gd name="T1" fmla="*/ 712 h 712"/>
                <a:gd name="T2" fmla="*/ 0 w 2686"/>
                <a:gd name="T3" fmla="*/ 712 h 712"/>
                <a:gd name="T4" fmla="*/ 203 w 2686"/>
                <a:gd name="T5" fmla="*/ 0 h 712"/>
                <a:gd name="T6" fmla="*/ 2485 w 2686"/>
                <a:gd name="T7" fmla="*/ 0 h 712"/>
                <a:gd name="T8" fmla="*/ 2686 w 2686"/>
                <a:gd name="T9" fmla="*/ 71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6" h="712">
                  <a:moveTo>
                    <a:pt x="2686" y="712"/>
                  </a:moveTo>
                  <a:lnTo>
                    <a:pt x="0" y="712"/>
                  </a:lnTo>
                  <a:lnTo>
                    <a:pt x="203" y="0"/>
                  </a:lnTo>
                  <a:lnTo>
                    <a:pt x="2485" y="0"/>
                  </a:lnTo>
                  <a:lnTo>
                    <a:pt x="2686" y="71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2" name="íśḷiḍê">
              <a:extLst>
                <a:ext uri="{FF2B5EF4-FFF2-40B4-BE49-F238E27FC236}">
                  <a16:creationId xmlns:a16="http://schemas.microsoft.com/office/drawing/2014/main" id="{31FA55E5-164E-4A78-A356-21FA8FB15E0B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2686 w 2686"/>
                <a:gd name="T1" fmla="*/ 712 h 712"/>
                <a:gd name="T2" fmla="*/ 0 w 2686"/>
                <a:gd name="T3" fmla="*/ 712 h 712"/>
                <a:gd name="T4" fmla="*/ 203 w 2686"/>
                <a:gd name="T5" fmla="*/ 0 h 712"/>
                <a:gd name="T6" fmla="*/ 2485 w 2686"/>
                <a:gd name="T7" fmla="*/ 0 h 712"/>
                <a:gd name="T8" fmla="*/ 2686 w 2686"/>
                <a:gd name="T9" fmla="*/ 71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6" h="712">
                  <a:moveTo>
                    <a:pt x="2686" y="712"/>
                  </a:moveTo>
                  <a:lnTo>
                    <a:pt x="0" y="712"/>
                  </a:lnTo>
                  <a:lnTo>
                    <a:pt x="203" y="0"/>
                  </a:lnTo>
                  <a:lnTo>
                    <a:pt x="2485" y="0"/>
                  </a:lnTo>
                  <a:lnTo>
                    <a:pt x="2686" y="7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3" name="ïśľiḋè">
              <a:extLst>
                <a:ext uri="{FF2B5EF4-FFF2-40B4-BE49-F238E27FC236}">
                  <a16:creationId xmlns:a16="http://schemas.microsoft.com/office/drawing/2014/main" id="{25E74B2B-4FE8-4D51-B677-97281043F222}"/>
                </a:ext>
              </a:extLst>
            </p:cNvPr>
            <p:cNvSpPr/>
            <p:nvPr/>
          </p:nvSpPr>
          <p:spPr bwMode="auto">
            <a:xfrm>
              <a:off x="2661379" y="4332589"/>
              <a:ext cx="725832" cy="1138263"/>
            </a:xfrm>
            <a:custGeom>
              <a:avLst/>
              <a:gdLst>
                <a:gd name="T0" fmla="*/ 3 w 579"/>
                <a:gd name="T1" fmla="*/ 908 h 908"/>
                <a:gd name="T2" fmla="*/ 0 w 579"/>
                <a:gd name="T3" fmla="*/ 0 h 908"/>
                <a:gd name="T4" fmla="*/ 576 w 579"/>
                <a:gd name="T5" fmla="*/ 0 h 908"/>
                <a:gd name="T6" fmla="*/ 579 w 579"/>
                <a:gd name="T7" fmla="*/ 908 h 908"/>
                <a:gd name="T8" fmla="*/ 3 w 579"/>
                <a:gd name="T9" fmla="*/ 908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908">
                  <a:moveTo>
                    <a:pt x="3" y="908"/>
                  </a:moveTo>
                  <a:lnTo>
                    <a:pt x="0" y="0"/>
                  </a:lnTo>
                  <a:lnTo>
                    <a:pt x="576" y="0"/>
                  </a:lnTo>
                  <a:lnTo>
                    <a:pt x="579" y="908"/>
                  </a:lnTo>
                  <a:lnTo>
                    <a:pt x="3" y="90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4" name="ïṩḻîdè">
              <a:extLst>
                <a:ext uri="{FF2B5EF4-FFF2-40B4-BE49-F238E27FC236}">
                  <a16:creationId xmlns:a16="http://schemas.microsoft.com/office/drawing/2014/main" id="{0F7F3597-D1BE-4ECF-AC78-BABC460E059B}"/>
                </a:ext>
              </a:extLst>
            </p:cNvPr>
            <p:cNvSpPr/>
            <p:nvPr/>
          </p:nvSpPr>
          <p:spPr bwMode="auto">
            <a:xfrm>
              <a:off x="2661379" y="4332589"/>
              <a:ext cx="725832" cy="1138263"/>
            </a:xfrm>
            <a:custGeom>
              <a:avLst/>
              <a:gdLst>
                <a:gd name="T0" fmla="*/ 3 w 579"/>
                <a:gd name="T1" fmla="*/ 908 h 908"/>
                <a:gd name="T2" fmla="*/ 0 w 579"/>
                <a:gd name="T3" fmla="*/ 0 h 908"/>
                <a:gd name="T4" fmla="*/ 576 w 579"/>
                <a:gd name="T5" fmla="*/ 0 h 908"/>
                <a:gd name="T6" fmla="*/ 579 w 579"/>
                <a:gd name="T7" fmla="*/ 908 h 908"/>
                <a:gd name="T8" fmla="*/ 3 w 579"/>
                <a:gd name="T9" fmla="*/ 908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908">
                  <a:moveTo>
                    <a:pt x="3" y="908"/>
                  </a:moveTo>
                  <a:lnTo>
                    <a:pt x="0" y="0"/>
                  </a:lnTo>
                  <a:lnTo>
                    <a:pt x="576" y="0"/>
                  </a:lnTo>
                  <a:lnTo>
                    <a:pt x="579" y="908"/>
                  </a:lnTo>
                  <a:lnTo>
                    <a:pt x="3" y="90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5" name="iṧḻîḓè">
              <a:extLst>
                <a:ext uri="{FF2B5EF4-FFF2-40B4-BE49-F238E27FC236}">
                  <a16:creationId xmlns:a16="http://schemas.microsoft.com/office/drawing/2014/main" id="{8F1C18FB-D7A8-4861-AED8-B87308967DE5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6" name="iśḻïďé">
              <a:extLst>
                <a:ext uri="{FF2B5EF4-FFF2-40B4-BE49-F238E27FC236}">
                  <a16:creationId xmlns:a16="http://schemas.microsoft.com/office/drawing/2014/main" id="{23030278-2DFE-4790-8F61-74BC189D34BE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7" name="íś1îḓe">
              <a:extLst>
                <a:ext uri="{FF2B5EF4-FFF2-40B4-BE49-F238E27FC236}">
                  <a16:creationId xmlns:a16="http://schemas.microsoft.com/office/drawing/2014/main" id="{A3D02699-107B-45D7-B0E4-ABC4224C5FCA}"/>
                </a:ext>
              </a:extLst>
            </p:cNvPr>
            <p:cNvSpPr/>
            <p:nvPr/>
          </p:nvSpPr>
          <p:spPr bwMode="auto">
            <a:xfrm>
              <a:off x="1857826" y="4466724"/>
              <a:ext cx="487648" cy="759677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8" name="íŝļiḍè">
              <a:extLst>
                <a:ext uri="{FF2B5EF4-FFF2-40B4-BE49-F238E27FC236}">
                  <a16:creationId xmlns:a16="http://schemas.microsoft.com/office/drawing/2014/main" id="{BD29F400-BCE6-4AAC-8AB8-74335BB5613E}"/>
                </a:ext>
              </a:extLst>
            </p:cNvPr>
            <p:cNvSpPr/>
            <p:nvPr/>
          </p:nvSpPr>
          <p:spPr bwMode="auto">
            <a:xfrm>
              <a:off x="3699356" y="4466724"/>
              <a:ext cx="487648" cy="759677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9" name="ïš1îḓé">
              <a:extLst>
                <a:ext uri="{FF2B5EF4-FFF2-40B4-BE49-F238E27FC236}">
                  <a16:creationId xmlns:a16="http://schemas.microsoft.com/office/drawing/2014/main" id="{1A40A2EC-31CD-4B93-9BB5-1E1B9623107F}"/>
                </a:ext>
              </a:extLst>
            </p:cNvPr>
            <p:cNvSpPr/>
            <p:nvPr/>
          </p:nvSpPr>
          <p:spPr bwMode="auto">
            <a:xfrm>
              <a:off x="2093502" y="4444158"/>
              <a:ext cx="16297" cy="804808"/>
            </a:xfrm>
            <a:prstGeom prst="rect">
              <a:avLst/>
            </a:prstGeom>
            <a:solidFill>
              <a:srgbClr val="403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0" name="îšliḋe">
              <a:extLst>
                <a:ext uri="{FF2B5EF4-FFF2-40B4-BE49-F238E27FC236}">
                  <a16:creationId xmlns:a16="http://schemas.microsoft.com/office/drawing/2014/main" id="{784D1152-420E-4E92-9A1B-32DBCE7BFA42}"/>
                </a:ext>
              </a:extLst>
            </p:cNvPr>
            <p:cNvSpPr/>
            <p:nvPr/>
          </p:nvSpPr>
          <p:spPr bwMode="auto">
            <a:xfrm>
              <a:off x="2093502" y="4444158"/>
              <a:ext cx="16297" cy="804808"/>
            </a:xfrm>
            <a:custGeom>
              <a:avLst/>
              <a:gdLst>
                <a:gd name="T0" fmla="*/ 13 w 13"/>
                <a:gd name="T1" fmla="*/ 642 h 642"/>
                <a:gd name="T2" fmla="*/ 13 w 13"/>
                <a:gd name="T3" fmla="*/ 0 h 642"/>
                <a:gd name="T4" fmla="*/ 0 w 13"/>
                <a:gd name="T5" fmla="*/ 0 h 642"/>
                <a:gd name="T6" fmla="*/ 0 w 13"/>
                <a:gd name="T7" fmla="*/ 6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642">
                  <a:moveTo>
                    <a:pt x="13" y="642"/>
                  </a:moveTo>
                  <a:lnTo>
                    <a:pt x="13" y="0"/>
                  </a:lnTo>
                  <a:lnTo>
                    <a:pt x="0" y="0"/>
                  </a:lnTo>
                  <a:lnTo>
                    <a:pt x="0" y="6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1" name="ïŝļíde">
              <a:extLst>
                <a:ext uri="{FF2B5EF4-FFF2-40B4-BE49-F238E27FC236}">
                  <a16:creationId xmlns:a16="http://schemas.microsoft.com/office/drawing/2014/main" id="{3B860A66-ACD5-4F9F-9C26-E0470D4E6CD6}"/>
                </a:ext>
              </a:extLst>
            </p:cNvPr>
            <p:cNvSpPr/>
            <p:nvPr/>
          </p:nvSpPr>
          <p:spPr bwMode="auto">
            <a:xfrm>
              <a:off x="1831501" y="4840295"/>
              <a:ext cx="540299" cy="15043"/>
            </a:xfrm>
            <a:prstGeom prst="rect">
              <a:avLst/>
            </a:prstGeom>
            <a:solidFill>
              <a:srgbClr val="4035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2" name="ïšľïḑe">
              <a:extLst>
                <a:ext uri="{FF2B5EF4-FFF2-40B4-BE49-F238E27FC236}">
                  <a16:creationId xmlns:a16="http://schemas.microsoft.com/office/drawing/2014/main" id="{E5D12A6F-D813-4E1F-B997-DECF246A5063}"/>
                </a:ext>
              </a:extLst>
            </p:cNvPr>
            <p:cNvSpPr/>
            <p:nvPr/>
          </p:nvSpPr>
          <p:spPr bwMode="auto">
            <a:xfrm>
              <a:off x="1831501" y="4840295"/>
              <a:ext cx="540299" cy="15043"/>
            </a:xfrm>
            <a:custGeom>
              <a:avLst/>
              <a:gdLst>
                <a:gd name="T0" fmla="*/ 0 w 431"/>
                <a:gd name="T1" fmla="*/ 12 h 12"/>
                <a:gd name="T2" fmla="*/ 431 w 431"/>
                <a:gd name="T3" fmla="*/ 12 h 12"/>
                <a:gd name="T4" fmla="*/ 431 w 431"/>
                <a:gd name="T5" fmla="*/ 0 h 12"/>
                <a:gd name="T6" fmla="*/ 0 w 43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12">
                  <a:moveTo>
                    <a:pt x="0" y="12"/>
                  </a:moveTo>
                  <a:lnTo>
                    <a:pt x="431" y="12"/>
                  </a:lnTo>
                  <a:lnTo>
                    <a:pt x="43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3" name="íśḷîḋè">
              <a:extLst>
                <a:ext uri="{FF2B5EF4-FFF2-40B4-BE49-F238E27FC236}">
                  <a16:creationId xmlns:a16="http://schemas.microsoft.com/office/drawing/2014/main" id="{03076159-5D76-48A8-8FB5-0B7D74D710A3}"/>
                </a:ext>
              </a:extLst>
            </p:cNvPr>
            <p:cNvSpPr/>
            <p:nvPr/>
          </p:nvSpPr>
          <p:spPr bwMode="auto">
            <a:xfrm>
              <a:off x="1792639" y="4402790"/>
              <a:ext cx="618023" cy="887545"/>
            </a:xfrm>
            <a:custGeom>
              <a:avLst/>
              <a:gdLst>
                <a:gd name="T0" fmla="*/ 0 w 493"/>
                <a:gd name="T1" fmla="*/ 0 h 708"/>
                <a:gd name="T2" fmla="*/ 0 w 493"/>
                <a:gd name="T3" fmla="*/ 708 h 708"/>
                <a:gd name="T4" fmla="*/ 493 w 493"/>
                <a:gd name="T5" fmla="*/ 708 h 708"/>
                <a:gd name="T6" fmla="*/ 493 w 493"/>
                <a:gd name="T7" fmla="*/ 0 h 708"/>
                <a:gd name="T8" fmla="*/ 0 w 493"/>
                <a:gd name="T9" fmla="*/ 0 h 708"/>
                <a:gd name="T10" fmla="*/ 441 w 493"/>
                <a:gd name="T11" fmla="*/ 335 h 708"/>
                <a:gd name="T12" fmla="*/ 266 w 493"/>
                <a:gd name="T13" fmla="*/ 335 h 708"/>
                <a:gd name="T14" fmla="*/ 266 w 493"/>
                <a:gd name="T15" fmla="*/ 51 h 708"/>
                <a:gd name="T16" fmla="*/ 441 w 493"/>
                <a:gd name="T17" fmla="*/ 51 h 708"/>
                <a:gd name="T18" fmla="*/ 441 w 493"/>
                <a:gd name="T19" fmla="*/ 335 h 708"/>
                <a:gd name="T20" fmla="*/ 227 w 493"/>
                <a:gd name="T21" fmla="*/ 51 h 708"/>
                <a:gd name="T22" fmla="*/ 227 w 493"/>
                <a:gd name="T23" fmla="*/ 335 h 708"/>
                <a:gd name="T24" fmla="*/ 52 w 493"/>
                <a:gd name="T25" fmla="*/ 335 h 708"/>
                <a:gd name="T26" fmla="*/ 52 w 493"/>
                <a:gd name="T27" fmla="*/ 51 h 708"/>
                <a:gd name="T28" fmla="*/ 227 w 493"/>
                <a:gd name="T29" fmla="*/ 51 h 708"/>
                <a:gd name="T30" fmla="*/ 52 w 493"/>
                <a:gd name="T31" fmla="*/ 374 h 708"/>
                <a:gd name="T32" fmla="*/ 227 w 493"/>
                <a:gd name="T33" fmla="*/ 374 h 708"/>
                <a:gd name="T34" fmla="*/ 227 w 493"/>
                <a:gd name="T35" fmla="*/ 657 h 708"/>
                <a:gd name="T36" fmla="*/ 52 w 493"/>
                <a:gd name="T37" fmla="*/ 657 h 708"/>
                <a:gd name="T38" fmla="*/ 52 w 493"/>
                <a:gd name="T39" fmla="*/ 374 h 708"/>
                <a:gd name="T40" fmla="*/ 266 w 493"/>
                <a:gd name="T41" fmla="*/ 657 h 708"/>
                <a:gd name="T42" fmla="*/ 266 w 493"/>
                <a:gd name="T43" fmla="*/ 374 h 708"/>
                <a:gd name="T44" fmla="*/ 441 w 493"/>
                <a:gd name="T45" fmla="*/ 374 h 708"/>
                <a:gd name="T46" fmla="*/ 441 w 493"/>
                <a:gd name="T47" fmla="*/ 657 h 708"/>
                <a:gd name="T48" fmla="*/ 266 w 493"/>
                <a:gd name="T49" fmla="*/ 657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3" h="708">
                  <a:moveTo>
                    <a:pt x="0" y="0"/>
                  </a:moveTo>
                  <a:lnTo>
                    <a:pt x="0" y="708"/>
                  </a:lnTo>
                  <a:lnTo>
                    <a:pt x="493" y="708"/>
                  </a:lnTo>
                  <a:lnTo>
                    <a:pt x="493" y="0"/>
                  </a:lnTo>
                  <a:lnTo>
                    <a:pt x="0" y="0"/>
                  </a:lnTo>
                  <a:close/>
                  <a:moveTo>
                    <a:pt x="441" y="335"/>
                  </a:moveTo>
                  <a:lnTo>
                    <a:pt x="266" y="335"/>
                  </a:lnTo>
                  <a:lnTo>
                    <a:pt x="266" y="51"/>
                  </a:lnTo>
                  <a:lnTo>
                    <a:pt x="441" y="51"/>
                  </a:lnTo>
                  <a:lnTo>
                    <a:pt x="441" y="335"/>
                  </a:lnTo>
                  <a:close/>
                  <a:moveTo>
                    <a:pt x="227" y="51"/>
                  </a:moveTo>
                  <a:lnTo>
                    <a:pt x="227" y="335"/>
                  </a:lnTo>
                  <a:lnTo>
                    <a:pt x="52" y="335"/>
                  </a:lnTo>
                  <a:lnTo>
                    <a:pt x="52" y="51"/>
                  </a:lnTo>
                  <a:lnTo>
                    <a:pt x="227" y="51"/>
                  </a:lnTo>
                  <a:close/>
                  <a:moveTo>
                    <a:pt x="52" y="374"/>
                  </a:moveTo>
                  <a:lnTo>
                    <a:pt x="227" y="374"/>
                  </a:lnTo>
                  <a:lnTo>
                    <a:pt x="227" y="657"/>
                  </a:lnTo>
                  <a:lnTo>
                    <a:pt x="52" y="657"/>
                  </a:lnTo>
                  <a:lnTo>
                    <a:pt x="52" y="374"/>
                  </a:lnTo>
                  <a:close/>
                  <a:moveTo>
                    <a:pt x="266" y="657"/>
                  </a:moveTo>
                  <a:lnTo>
                    <a:pt x="266" y="374"/>
                  </a:lnTo>
                  <a:lnTo>
                    <a:pt x="441" y="374"/>
                  </a:lnTo>
                  <a:lnTo>
                    <a:pt x="441" y="657"/>
                  </a:lnTo>
                  <a:lnTo>
                    <a:pt x="266" y="65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4" name="ïsľîḓê">
              <a:extLst>
                <a:ext uri="{FF2B5EF4-FFF2-40B4-BE49-F238E27FC236}">
                  <a16:creationId xmlns:a16="http://schemas.microsoft.com/office/drawing/2014/main" id="{BDE7AC58-A414-4F60-A0C5-BA815CF57667}"/>
                </a:ext>
              </a:extLst>
            </p:cNvPr>
            <p:cNvSpPr/>
            <p:nvPr/>
          </p:nvSpPr>
          <p:spPr bwMode="auto">
            <a:xfrm>
              <a:off x="3634168" y="4402790"/>
              <a:ext cx="616768" cy="887545"/>
            </a:xfrm>
            <a:custGeom>
              <a:avLst/>
              <a:gdLst>
                <a:gd name="T0" fmla="*/ 0 w 492"/>
                <a:gd name="T1" fmla="*/ 0 h 708"/>
                <a:gd name="T2" fmla="*/ 0 w 492"/>
                <a:gd name="T3" fmla="*/ 708 h 708"/>
                <a:gd name="T4" fmla="*/ 492 w 492"/>
                <a:gd name="T5" fmla="*/ 708 h 708"/>
                <a:gd name="T6" fmla="*/ 492 w 492"/>
                <a:gd name="T7" fmla="*/ 0 h 708"/>
                <a:gd name="T8" fmla="*/ 0 w 492"/>
                <a:gd name="T9" fmla="*/ 0 h 708"/>
                <a:gd name="T10" fmla="*/ 441 w 492"/>
                <a:gd name="T11" fmla="*/ 335 h 708"/>
                <a:gd name="T12" fmla="*/ 266 w 492"/>
                <a:gd name="T13" fmla="*/ 335 h 708"/>
                <a:gd name="T14" fmla="*/ 266 w 492"/>
                <a:gd name="T15" fmla="*/ 51 h 708"/>
                <a:gd name="T16" fmla="*/ 441 w 492"/>
                <a:gd name="T17" fmla="*/ 51 h 708"/>
                <a:gd name="T18" fmla="*/ 441 w 492"/>
                <a:gd name="T19" fmla="*/ 335 h 708"/>
                <a:gd name="T20" fmla="*/ 227 w 492"/>
                <a:gd name="T21" fmla="*/ 51 h 708"/>
                <a:gd name="T22" fmla="*/ 227 w 492"/>
                <a:gd name="T23" fmla="*/ 335 h 708"/>
                <a:gd name="T24" fmla="*/ 52 w 492"/>
                <a:gd name="T25" fmla="*/ 335 h 708"/>
                <a:gd name="T26" fmla="*/ 52 w 492"/>
                <a:gd name="T27" fmla="*/ 51 h 708"/>
                <a:gd name="T28" fmla="*/ 227 w 492"/>
                <a:gd name="T29" fmla="*/ 51 h 708"/>
                <a:gd name="T30" fmla="*/ 52 w 492"/>
                <a:gd name="T31" fmla="*/ 374 h 708"/>
                <a:gd name="T32" fmla="*/ 227 w 492"/>
                <a:gd name="T33" fmla="*/ 374 h 708"/>
                <a:gd name="T34" fmla="*/ 227 w 492"/>
                <a:gd name="T35" fmla="*/ 657 h 708"/>
                <a:gd name="T36" fmla="*/ 52 w 492"/>
                <a:gd name="T37" fmla="*/ 657 h 708"/>
                <a:gd name="T38" fmla="*/ 52 w 492"/>
                <a:gd name="T39" fmla="*/ 374 h 708"/>
                <a:gd name="T40" fmla="*/ 266 w 492"/>
                <a:gd name="T41" fmla="*/ 657 h 708"/>
                <a:gd name="T42" fmla="*/ 266 w 492"/>
                <a:gd name="T43" fmla="*/ 374 h 708"/>
                <a:gd name="T44" fmla="*/ 441 w 492"/>
                <a:gd name="T45" fmla="*/ 374 h 708"/>
                <a:gd name="T46" fmla="*/ 441 w 492"/>
                <a:gd name="T47" fmla="*/ 657 h 708"/>
                <a:gd name="T48" fmla="*/ 266 w 492"/>
                <a:gd name="T49" fmla="*/ 657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2" h="708">
                  <a:moveTo>
                    <a:pt x="0" y="0"/>
                  </a:moveTo>
                  <a:lnTo>
                    <a:pt x="0" y="708"/>
                  </a:lnTo>
                  <a:lnTo>
                    <a:pt x="492" y="708"/>
                  </a:lnTo>
                  <a:lnTo>
                    <a:pt x="492" y="0"/>
                  </a:lnTo>
                  <a:lnTo>
                    <a:pt x="0" y="0"/>
                  </a:lnTo>
                  <a:close/>
                  <a:moveTo>
                    <a:pt x="441" y="335"/>
                  </a:moveTo>
                  <a:lnTo>
                    <a:pt x="266" y="335"/>
                  </a:lnTo>
                  <a:lnTo>
                    <a:pt x="266" y="51"/>
                  </a:lnTo>
                  <a:lnTo>
                    <a:pt x="441" y="51"/>
                  </a:lnTo>
                  <a:lnTo>
                    <a:pt x="441" y="335"/>
                  </a:lnTo>
                  <a:close/>
                  <a:moveTo>
                    <a:pt x="227" y="51"/>
                  </a:moveTo>
                  <a:lnTo>
                    <a:pt x="227" y="335"/>
                  </a:lnTo>
                  <a:lnTo>
                    <a:pt x="52" y="335"/>
                  </a:lnTo>
                  <a:lnTo>
                    <a:pt x="52" y="51"/>
                  </a:lnTo>
                  <a:lnTo>
                    <a:pt x="227" y="51"/>
                  </a:lnTo>
                  <a:close/>
                  <a:moveTo>
                    <a:pt x="52" y="374"/>
                  </a:moveTo>
                  <a:lnTo>
                    <a:pt x="227" y="374"/>
                  </a:lnTo>
                  <a:lnTo>
                    <a:pt x="227" y="657"/>
                  </a:lnTo>
                  <a:lnTo>
                    <a:pt x="52" y="657"/>
                  </a:lnTo>
                  <a:lnTo>
                    <a:pt x="52" y="374"/>
                  </a:lnTo>
                  <a:close/>
                  <a:moveTo>
                    <a:pt x="266" y="657"/>
                  </a:moveTo>
                  <a:lnTo>
                    <a:pt x="266" y="374"/>
                  </a:lnTo>
                  <a:lnTo>
                    <a:pt x="441" y="374"/>
                  </a:lnTo>
                  <a:lnTo>
                    <a:pt x="441" y="657"/>
                  </a:lnTo>
                  <a:lnTo>
                    <a:pt x="266" y="657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5" name="iṩļidê">
              <a:extLst>
                <a:ext uri="{FF2B5EF4-FFF2-40B4-BE49-F238E27FC236}">
                  <a16:creationId xmlns:a16="http://schemas.microsoft.com/office/drawing/2014/main" id="{BB7CC3AD-59A5-4167-84F9-6D1F93CCB41D}"/>
                </a:ext>
              </a:extLst>
            </p:cNvPr>
            <p:cNvSpPr/>
            <p:nvPr/>
          </p:nvSpPr>
          <p:spPr bwMode="auto">
            <a:xfrm>
              <a:off x="2779218" y="4981951"/>
              <a:ext cx="65187" cy="6393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6" name="iś1ïḓe">
              <a:extLst>
                <a:ext uri="{FF2B5EF4-FFF2-40B4-BE49-F238E27FC236}">
                  <a16:creationId xmlns:a16="http://schemas.microsoft.com/office/drawing/2014/main" id="{6392B9B1-0B20-4367-8052-BE56FFE5E29C}"/>
                </a:ext>
              </a:extLst>
            </p:cNvPr>
            <p:cNvSpPr/>
            <p:nvPr/>
          </p:nvSpPr>
          <p:spPr bwMode="auto">
            <a:xfrm>
              <a:off x="2769189" y="4970668"/>
              <a:ext cx="65187" cy="65187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7" name="îsļíḋé">
              <a:extLst>
                <a:ext uri="{FF2B5EF4-FFF2-40B4-BE49-F238E27FC236}">
                  <a16:creationId xmlns:a16="http://schemas.microsoft.com/office/drawing/2014/main" id="{FDCEEAF1-93A6-47A8-BBC7-25931DC8E435}"/>
                </a:ext>
              </a:extLst>
            </p:cNvPr>
            <p:cNvSpPr/>
            <p:nvPr/>
          </p:nvSpPr>
          <p:spPr bwMode="auto">
            <a:xfrm>
              <a:off x="2803036" y="4476753"/>
              <a:ext cx="442519" cy="347246"/>
            </a:xfrm>
            <a:prstGeom prst="rect">
              <a:avLst/>
            </a:prstGeom>
            <a:solidFill>
              <a:srgbClr val="DDE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8" name="ïSliḋé">
              <a:extLst>
                <a:ext uri="{FF2B5EF4-FFF2-40B4-BE49-F238E27FC236}">
                  <a16:creationId xmlns:a16="http://schemas.microsoft.com/office/drawing/2014/main" id="{7F4281BC-A57E-43A3-AD3B-D028ECFD6CE8}"/>
                </a:ext>
              </a:extLst>
            </p:cNvPr>
            <p:cNvSpPr/>
            <p:nvPr/>
          </p:nvSpPr>
          <p:spPr bwMode="auto">
            <a:xfrm>
              <a:off x="3965118" y="2904745"/>
              <a:ext cx="488902" cy="114077"/>
            </a:xfrm>
            <a:custGeom>
              <a:avLst/>
              <a:gdLst>
                <a:gd name="T0" fmla="*/ 390 w 390"/>
                <a:gd name="T1" fmla="*/ 0 h 91"/>
                <a:gd name="T2" fmla="*/ 0 w 390"/>
                <a:gd name="T3" fmla="*/ 0 h 91"/>
                <a:gd name="T4" fmla="*/ 390 w 390"/>
                <a:gd name="T5" fmla="*/ 91 h 91"/>
                <a:gd name="T6" fmla="*/ 390 w 390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0" h="91">
                  <a:moveTo>
                    <a:pt x="390" y="0"/>
                  </a:moveTo>
                  <a:lnTo>
                    <a:pt x="0" y="0"/>
                  </a:lnTo>
                  <a:lnTo>
                    <a:pt x="390" y="91"/>
                  </a:lnTo>
                  <a:lnTo>
                    <a:pt x="390" y="0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9" name="ïSļïḋe">
              <a:extLst>
                <a:ext uri="{FF2B5EF4-FFF2-40B4-BE49-F238E27FC236}">
                  <a16:creationId xmlns:a16="http://schemas.microsoft.com/office/drawing/2014/main" id="{93C51054-AA03-4BF0-98E4-F60638A185BA}"/>
                </a:ext>
              </a:extLst>
            </p:cNvPr>
            <p:cNvSpPr/>
            <p:nvPr/>
          </p:nvSpPr>
          <p:spPr bwMode="auto">
            <a:xfrm>
              <a:off x="3965118" y="2904745"/>
              <a:ext cx="488902" cy="114077"/>
            </a:xfrm>
            <a:custGeom>
              <a:avLst/>
              <a:gdLst>
                <a:gd name="T0" fmla="*/ 390 w 390"/>
                <a:gd name="T1" fmla="*/ 0 h 91"/>
                <a:gd name="T2" fmla="*/ 0 w 390"/>
                <a:gd name="T3" fmla="*/ 0 h 91"/>
                <a:gd name="T4" fmla="*/ 390 w 390"/>
                <a:gd name="T5" fmla="*/ 91 h 91"/>
                <a:gd name="T6" fmla="*/ 390 w 390"/>
                <a:gd name="T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0" h="91">
                  <a:moveTo>
                    <a:pt x="390" y="0"/>
                  </a:moveTo>
                  <a:lnTo>
                    <a:pt x="0" y="0"/>
                  </a:lnTo>
                  <a:lnTo>
                    <a:pt x="390" y="91"/>
                  </a:lnTo>
                  <a:lnTo>
                    <a:pt x="39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0" name="ïsḻïdé">
              <a:extLst>
                <a:ext uri="{FF2B5EF4-FFF2-40B4-BE49-F238E27FC236}">
                  <a16:creationId xmlns:a16="http://schemas.microsoft.com/office/drawing/2014/main" id="{261C9BF6-A382-4864-AC02-A2259E261EF5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custGeom>
              <a:avLst/>
              <a:gdLst>
                <a:gd name="T0" fmla="*/ 472 w 472"/>
                <a:gd name="T1" fmla="*/ 0 h 852"/>
                <a:gd name="T2" fmla="*/ 0 w 472"/>
                <a:gd name="T3" fmla="*/ 0 h 852"/>
                <a:gd name="T4" fmla="*/ 0 w 472"/>
                <a:gd name="T5" fmla="*/ 852 h 852"/>
                <a:gd name="T6" fmla="*/ 15 w 472"/>
                <a:gd name="T7" fmla="*/ 852 h 852"/>
                <a:gd name="T8" fmla="*/ 15 w 472"/>
                <a:gd name="T9" fmla="*/ 14 h 852"/>
                <a:gd name="T10" fmla="*/ 472 w 472"/>
                <a:gd name="T11" fmla="*/ 14 h 852"/>
                <a:gd name="T12" fmla="*/ 472 w 47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852">
                  <a:moveTo>
                    <a:pt x="472" y="0"/>
                  </a:moveTo>
                  <a:lnTo>
                    <a:pt x="0" y="0"/>
                  </a:lnTo>
                  <a:lnTo>
                    <a:pt x="0" y="852"/>
                  </a:lnTo>
                  <a:lnTo>
                    <a:pt x="15" y="852"/>
                  </a:lnTo>
                  <a:lnTo>
                    <a:pt x="15" y="14"/>
                  </a:lnTo>
                  <a:lnTo>
                    <a:pt x="472" y="14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1" name="îṣḷíḑè">
              <a:extLst>
                <a:ext uri="{FF2B5EF4-FFF2-40B4-BE49-F238E27FC236}">
                  <a16:creationId xmlns:a16="http://schemas.microsoft.com/office/drawing/2014/main" id="{596B42A7-3CFD-4EBB-BFBC-F6C6ED6B158C}"/>
                </a:ext>
              </a:extLst>
            </p:cNvPr>
            <p:cNvSpPr/>
            <p:nvPr/>
          </p:nvSpPr>
          <p:spPr bwMode="auto">
            <a:xfrm>
              <a:off x="2726567" y="4402790"/>
              <a:ext cx="591696" cy="1068062"/>
            </a:xfrm>
            <a:custGeom>
              <a:avLst/>
              <a:gdLst>
                <a:gd name="T0" fmla="*/ 472 w 472"/>
                <a:gd name="T1" fmla="*/ 0 h 852"/>
                <a:gd name="T2" fmla="*/ 0 w 472"/>
                <a:gd name="T3" fmla="*/ 0 h 852"/>
                <a:gd name="T4" fmla="*/ 0 w 472"/>
                <a:gd name="T5" fmla="*/ 852 h 852"/>
                <a:gd name="T6" fmla="*/ 15 w 472"/>
                <a:gd name="T7" fmla="*/ 852 h 852"/>
                <a:gd name="T8" fmla="*/ 15 w 472"/>
                <a:gd name="T9" fmla="*/ 14 h 852"/>
                <a:gd name="T10" fmla="*/ 472 w 472"/>
                <a:gd name="T11" fmla="*/ 14 h 852"/>
                <a:gd name="T12" fmla="*/ 472 w 47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852">
                  <a:moveTo>
                    <a:pt x="472" y="0"/>
                  </a:moveTo>
                  <a:lnTo>
                    <a:pt x="0" y="0"/>
                  </a:lnTo>
                  <a:lnTo>
                    <a:pt x="0" y="852"/>
                  </a:lnTo>
                  <a:lnTo>
                    <a:pt x="15" y="852"/>
                  </a:lnTo>
                  <a:lnTo>
                    <a:pt x="15" y="14"/>
                  </a:lnTo>
                  <a:lnTo>
                    <a:pt x="472" y="14"/>
                  </a:lnTo>
                  <a:lnTo>
                    <a:pt x="47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2" name="iṩľîde">
              <a:extLst>
                <a:ext uri="{FF2B5EF4-FFF2-40B4-BE49-F238E27FC236}">
                  <a16:creationId xmlns:a16="http://schemas.microsoft.com/office/drawing/2014/main" id="{7F82FAB7-FB0F-4204-B3F5-ECCA26679906}"/>
                </a:ext>
              </a:extLst>
            </p:cNvPr>
            <p:cNvSpPr/>
            <p:nvPr/>
          </p:nvSpPr>
          <p:spPr bwMode="auto">
            <a:xfrm>
              <a:off x="2593686" y="5470852"/>
              <a:ext cx="864980" cy="6518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3" name="îṩḻïḓê">
              <a:extLst>
                <a:ext uri="{FF2B5EF4-FFF2-40B4-BE49-F238E27FC236}">
                  <a16:creationId xmlns:a16="http://schemas.microsoft.com/office/drawing/2014/main" id="{0D858C05-0023-4CD5-B06C-3C463B094346}"/>
                </a:ext>
              </a:extLst>
            </p:cNvPr>
            <p:cNvSpPr/>
            <p:nvPr/>
          </p:nvSpPr>
          <p:spPr bwMode="auto">
            <a:xfrm>
              <a:off x="1338839" y="3263274"/>
              <a:ext cx="3367154" cy="892558"/>
            </a:xfrm>
            <a:custGeom>
              <a:avLst/>
              <a:gdLst>
                <a:gd name="T0" fmla="*/ 8 w 2686"/>
                <a:gd name="T1" fmla="*/ 707 h 712"/>
                <a:gd name="T2" fmla="*/ 206 w 2686"/>
                <a:gd name="T3" fmla="*/ 5 h 712"/>
                <a:gd name="T4" fmla="*/ 577 w 2686"/>
                <a:gd name="T5" fmla="*/ 5 h 712"/>
                <a:gd name="T6" fmla="*/ 446 w 2686"/>
                <a:gd name="T7" fmla="*/ 707 h 712"/>
                <a:gd name="T8" fmla="*/ 8 w 2686"/>
                <a:gd name="T9" fmla="*/ 707 h 712"/>
                <a:gd name="T10" fmla="*/ 455 w 2686"/>
                <a:gd name="T11" fmla="*/ 707 h 712"/>
                <a:gd name="T12" fmla="*/ 586 w 2686"/>
                <a:gd name="T13" fmla="*/ 5 h 712"/>
                <a:gd name="T14" fmla="*/ 958 w 2686"/>
                <a:gd name="T15" fmla="*/ 5 h 712"/>
                <a:gd name="T16" fmla="*/ 893 w 2686"/>
                <a:gd name="T17" fmla="*/ 707 h 712"/>
                <a:gd name="T18" fmla="*/ 455 w 2686"/>
                <a:gd name="T19" fmla="*/ 707 h 712"/>
                <a:gd name="T20" fmla="*/ 901 w 2686"/>
                <a:gd name="T21" fmla="*/ 707 h 712"/>
                <a:gd name="T22" fmla="*/ 967 w 2686"/>
                <a:gd name="T23" fmla="*/ 5 h 712"/>
                <a:gd name="T24" fmla="*/ 1340 w 2686"/>
                <a:gd name="T25" fmla="*/ 5 h 712"/>
                <a:gd name="T26" fmla="*/ 1340 w 2686"/>
                <a:gd name="T27" fmla="*/ 707 h 712"/>
                <a:gd name="T28" fmla="*/ 901 w 2686"/>
                <a:gd name="T29" fmla="*/ 707 h 712"/>
                <a:gd name="T30" fmla="*/ 1348 w 2686"/>
                <a:gd name="T31" fmla="*/ 707 h 712"/>
                <a:gd name="T32" fmla="*/ 1348 w 2686"/>
                <a:gd name="T33" fmla="*/ 5 h 712"/>
                <a:gd name="T34" fmla="*/ 1721 w 2686"/>
                <a:gd name="T35" fmla="*/ 5 h 712"/>
                <a:gd name="T36" fmla="*/ 1787 w 2686"/>
                <a:gd name="T37" fmla="*/ 707 h 712"/>
                <a:gd name="T38" fmla="*/ 1348 w 2686"/>
                <a:gd name="T39" fmla="*/ 707 h 712"/>
                <a:gd name="T40" fmla="*/ 1795 w 2686"/>
                <a:gd name="T41" fmla="*/ 707 h 712"/>
                <a:gd name="T42" fmla="*/ 1729 w 2686"/>
                <a:gd name="T43" fmla="*/ 5 h 712"/>
                <a:gd name="T44" fmla="*/ 2102 w 2686"/>
                <a:gd name="T45" fmla="*/ 5 h 712"/>
                <a:gd name="T46" fmla="*/ 2233 w 2686"/>
                <a:gd name="T47" fmla="*/ 707 h 712"/>
                <a:gd name="T48" fmla="*/ 1795 w 2686"/>
                <a:gd name="T49" fmla="*/ 707 h 712"/>
                <a:gd name="T50" fmla="*/ 2242 w 2686"/>
                <a:gd name="T51" fmla="*/ 707 h 712"/>
                <a:gd name="T52" fmla="*/ 2110 w 2686"/>
                <a:gd name="T53" fmla="*/ 5 h 712"/>
                <a:gd name="T54" fmla="*/ 2482 w 2686"/>
                <a:gd name="T55" fmla="*/ 5 h 712"/>
                <a:gd name="T56" fmla="*/ 2680 w 2686"/>
                <a:gd name="T57" fmla="*/ 707 h 712"/>
                <a:gd name="T58" fmla="*/ 2242 w 2686"/>
                <a:gd name="T59" fmla="*/ 707 h 712"/>
                <a:gd name="T60" fmla="*/ 2485 w 2686"/>
                <a:gd name="T61" fmla="*/ 0 h 712"/>
                <a:gd name="T62" fmla="*/ 2485 w 2686"/>
                <a:gd name="T63" fmla="*/ 0 h 712"/>
                <a:gd name="T64" fmla="*/ 2095 w 2686"/>
                <a:gd name="T65" fmla="*/ 0 h 712"/>
                <a:gd name="T66" fmla="*/ 203 w 2686"/>
                <a:gd name="T67" fmla="*/ 0 h 712"/>
                <a:gd name="T68" fmla="*/ 0 w 2686"/>
                <a:gd name="T69" fmla="*/ 712 h 712"/>
                <a:gd name="T70" fmla="*/ 2686 w 2686"/>
                <a:gd name="T71" fmla="*/ 712 h 712"/>
                <a:gd name="T72" fmla="*/ 2485 w 2686"/>
                <a:gd name="T73" fmla="*/ 0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86" h="712">
                  <a:moveTo>
                    <a:pt x="8" y="707"/>
                  </a:moveTo>
                  <a:lnTo>
                    <a:pt x="206" y="5"/>
                  </a:lnTo>
                  <a:lnTo>
                    <a:pt x="577" y="5"/>
                  </a:lnTo>
                  <a:lnTo>
                    <a:pt x="446" y="707"/>
                  </a:lnTo>
                  <a:lnTo>
                    <a:pt x="8" y="707"/>
                  </a:lnTo>
                  <a:close/>
                  <a:moveTo>
                    <a:pt x="455" y="707"/>
                  </a:moveTo>
                  <a:lnTo>
                    <a:pt x="586" y="5"/>
                  </a:lnTo>
                  <a:lnTo>
                    <a:pt x="958" y="5"/>
                  </a:lnTo>
                  <a:lnTo>
                    <a:pt x="893" y="707"/>
                  </a:lnTo>
                  <a:lnTo>
                    <a:pt x="455" y="707"/>
                  </a:lnTo>
                  <a:close/>
                  <a:moveTo>
                    <a:pt x="901" y="707"/>
                  </a:moveTo>
                  <a:lnTo>
                    <a:pt x="967" y="5"/>
                  </a:lnTo>
                  <a:lnTo>
                    <a:pt x="1340" y="5"/>
                  </a:lnTo>
                  <a:lnTo>
                    <a:pt x="1340" y="707"/>
                  </a:lnTo>
                  <a:lnTo>
                    <a:pt x="901" y="707"/>
                  </a:lnTo>
                  <a:close/>
                  <a:moveTo>
                    <a:pt x="1348" y="707"/>
                  </a:moveTo>
                  <a:lnTo>
                    <a:pt x="1348" y="5"/>
                  </a:lnTo>
                  <a:lnTo>
                    <a:pt x="1721" y="5"/>
                  </a:lnTo>
                  <a:lnTo>
                    <a:pt x="1787" y="707"/>
                  </a:lnTo>
                  <a:lnTo>
                    <a:pt x="1348" y="707"/>
                  </a:lnTo>
                  <a:close/>
                  <a:moveTo>
                    <a:pt x="1795" y="707"/>
                  </a:moveTo>
                  <a:lnTo>
                    <a:pt x="1729" y="5"/>
                  </a:lnTo>
                  <a:lnTo>
                    <a:pt x="2102" y="5"/>
                  </a:lnTo>
                  <a:lnTo>
                    <a:pt x="2233" y="707"/>
                  </a:lnTo>
                  <a:lnTo>
                    <a:pt x="1795" y="707"/>
                  </a:lnTo>
                  <a:close/>
                  <a:moveTo>
                    <a:pt x="2242" y="707"/>
                  </a:moveTo>
                  <a:lnTo>
                    <a:pt x="2110" y="5"/>
                  </a:lnTo>
                  <a:lnTo>
                    <a:pt x="2482" y="5"/>
                  </a:lnTo>
                  <a:lnTo>
                    <a:pt x="2680" y="707"/>
                  </a:lnTo>
                  <a:lnTo>
                    <a:pt x="2242" y="707"/>
                  </a:lnTo>
                  <a:close/>
                  <a:moveTo>
                    <a:pt x="2485" y="0"/>
                  </a:moveTo>
                  <a:lnTo>
                    <a:pt x="2485" y="0"/>
                  </a:lnTo>
                  <a:lnTo>
                    <a:pt x="2095" y="0"/>
                  </a:lnTo>
                  <a:lnTo>
                    <a:pt x="203" y="0"/>
                  </a:lnTo>
                  <a:lnTo>
                    <a:pt x="0" y="712"/>
                  </a:lnTo>
                  <a:lnTo>
                    <a:pt x="2686" y="712"/>
                  </a:lnTo>
                  <a:lnTo>
                    <a:pt x="2485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4" name="îsliḋe">
              <a:extLst>
                <a:ext uri="{FF2B5EF4-FFF2-40B4-BE49-F238E27FC236}">
                  <a16:creationId xmlns:a16="http://schemas.microsoft.com/office/drawing/2014/main" id="{E42A9E5F-AE3B-4D58-9A84-0A0488DF3BDA}"/>
                </a:ext>
              </a:extLst>
            </p:cNvPr>
            <p:cNvSpPr/>
            <p:nvPr/>
          </p:nvSpPr>
          <p:spPr bwMode="auto">
            <a:xfrm>
              <a:off x="2568614" y="3447552"/>
              <a:ext cx="911364" cy="239437"/>
            </a:xfrm>
            <a:custGeom>
              <a:avLst/>
              <a:gdLst>
                <a:gd name="T0" fmla="*/ 96 w 725"/>
                <a:gd name="T1" fmla="*/ 0 h 191"/>
                <a:gd name="T2" fmla="*/ 96 w 725"/>
                <a:gd name="T3" fmla="*/ 0 h 191"/>
                <a:gd name="T4" fmla="*/ 629 w 725"/>
                <a:gd name="T5" fmla="*/ 0 h 191"/>
                <a:gd name="T6" fmla="*/ 725 w 725"/>
                <a:gd name="T7" fmla="*/ 96 h 191"/>
                <a:gd name="T8" fmla="*/ 629 w 725"/>
                <a:gd name="T9" fmla="*/ 191 h 191"/>
                <a:gd name="T10" fmla="*/ 96 w 725"/>
                <a:gd name="T11" fmla="*/ 191 h 191"/>
                <a:gd name="T12" fmla="*/ 0 w 725"/>
                <a:gd name="T13" fmla="*/ 96 h 191"/>
                <a:gd name="T14" fmla="*/ 96 w 725"/>
                <a:gd name="T1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5" h="191">
                  <a:moveTo>
                    <a:pt x="96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629" y="0"/>
                    <a:pt x="629" y="0"/>
                    <a:pt x="629" y="0"/>
                  </a:cubicBezTo>
                  <a:cubicBezTo>
                    <a:pt x="682" y="0"/>
                    <a:pt x="725" y="43"/>
                    <a:pt x="725" y="96"/>
                  </a:cubicBezTo>
                  <a:cubicBezTo>
                    <a:pt x="725" y="148"/>
                    <a:pt x="682" y="191"/>
                    <a:pt x="629" y="191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43" y="191"/>
                    <a:pt x="0" y="148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5" name="íṡ1ïdé">
              <a:extLst>
                <a:ext uri="{FF2B5EF4-FFF2-40B4-BE49-F238E27FC236}">
                  <a16:creationId xmlns:a16="http://schemas.microsoft.com/office/drawing/2014/main" id="{16FCAD7C-6452-4B1E-AF7A-B1728A1BAFBB}"/>
                </a:ext>
              </a:extLst>
            </p:cNvPr>
            <p:cNvSpPr/>
            <p:nvPr/>
          </p:nvSpPr>
          <p:spPr bwMode="auto">
            <a:xfrm>
              <a:off x="2568614" y="3447552"/>
              <a:ext cx="911364" cy="146670"/>
            </a:xfrm>
            <a:custGeom>
              <a:avLst/>
              <a:gdLst>
                <a:gd name="T0" fmla="*/ 96 w 725"/>
                <a:gd name="T1" fmla="*/ 42 h 117"/>
                <a:gd name="T2" fmla="*/ 629 w 725"/>
                <a:gd name="T3" fmla="*/ 42 h 117"/>
                <a:gd name="T4" fmla="*/ 722 w 725"/>
                <a:gd name="T5" fmla="*/ 117 h 117"/>
                <a:gd name="T6" fmla="*/ 725 w 725"/>
                <a:gd name="T7" fmla="*/ 96 h 117"/>
                <a:gd name="T8" fmla="*/ 629 w 725"/>
                <a:gd name="T9" fmla="*/ 0 h 117"/>
                <a:gd name="T10" fmla="*/ 96 w 725"/>
                <a:gd name="T11" fmla="*/ 0 h 117"/>
                <a:gd name="T12" fmla="*/ 0 w 725"/>
                <a:gd name="T13" fmla="*/ 96 h 117"/>
                <a:gd name="T14" fmla="*/ 2 w 725"/>
                <a:gd name="T15" fmla="*/ 117 h 117"/>
                <a:gd name="T16" fmla="*/ 96 w 725"/>
                <a:gd name="T17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5" h="117">
                  <a:moveTo>
                    <a:pt x="96" y="42"/>
                  </a:moveTo>
                  <a:cubicBezTo>
                    <a:pt x="629" y="42"/>
                    <a:pt x="629" y="42"/>
                    <a:pt x="629" y="42"/>
                  </a:cubicBezTo>
                  <a:cubicBezTo>
                    <a:pt x="675" y="42"/>
                    <a:pt x="713" y="74"/>
                    <a:pt x="722" y="117"/>
                  </a:cubicBezTo>
                  <a:cubicBezTo>
                    <a:pt x="724" y="110"/>
                    <a:pt x="725" y="103"/>
                    <a:pt x="725" y="96"/>
                  </a:cubicBezTo>
                  <a:cubicBezTo>
                    <a:pt x="725" y="43"/>
                    <a:pt x="682" y="0"/>
                    <a:pt x="629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03"/>
                    <a:pt x="1" y="110"/>
                    <a:pt x="2" y="117"/>
                  </a:cubicBezTo>
                  <a:cubicBezTo>
                    <a:pt x="12" y="74"/>
                    <a:pt x="50" y="42"/>
                    <a:pt x="96" y="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9/14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image" Target="../media/image3.png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slideLayout" Target="../slideLayouts/slideLayout4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i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s1íḓ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íṩlîď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liď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ïşḻíďè"/>
          <p:cNvSpPr>
            <a:spLocks noGrp="1"/>
          </p:cNvSpPr>
          <p:nvPr>
            <p:ph type="ctrTitle"/>
          </p:nvPr>
        </p:nvSpPr>
        <p:spPr>
          <a:xfrm>
            <a:off x="4758118" y="2524714"/>
            <a:ext cx="7048163" cy="2301301"/>
          </a:xfrm>
        </p:spPr>
        <p:txBody>
          <a:bodyPr>
            <a:normAutofit/>
          </a:bodyPr>
          <a:lstStyle/>
          <a:p>
            <a:pPr lvl="0" algn="l"/>
            <a:br>
              <a:rPr lang="en-US" altLang="zh-CN" sz="4800" b="0" dirty="0"/>
            </a:br>
            <a:br>
              <a:rPr lang="en-US" altLang="zh-CN" sz="4800" b="0" dirty="0"/>
            </a:br>
            <a:r>
              <a:rPr lang="en-US" altLang="zh-CN" sz="4800" b="0" dirty="0"/>
              <a:t>       </a:t>
            </a:r>
            <a:r>
              <a:rPr lang="zh-CN" altLang="en-US" sz="4800" b="0" dirty="0"/>
              <a:t>饿了吧外卖</a:t>
            </a:r>
          </a:p>
        </p:txBody>
      </p:sp>
      <p:sp>
        <p:nvSpPr>
          <p:cNvPr id="6" name="íśļíḋ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2000" dirty="0"/>
              <a:t>邝伟威、陈鸿斌、梁小仪、李可蓝、王锐文</a:t>
            </a:r>
            <a:endParaRPr lang="en-US" altLang="zh-CN" sz="2000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16ADB409-4B60-F052-F5A2-1B5FF8EF70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47167" y="5660401"/>
            <a:ext cx="5671732" cy="296271"/>
          </a:xfrm>
        </p:spPr>
        <p:txBody>
          <a:bodyPr/>
          <a:lstStyle/>
          <a:p>
            <a:r>
              <a:rPr lang="en-US" altLang="zh-CN" sz="2000" dirty="0"/>
              <a:t>2023 / 04 / 12</a:t>
            </a:r>
            <a:endParaRPr lang="zh-CN" alt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CA209D-38BA-F8D3-A093-412C7524A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下一步开发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52DEB6-67C5-71CC-2E57-48C19EC30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69105A2-1E8D-70E9-F5EF-5C027C8383E1}"/>
              </a:ext>
            </a:extLst>
          </p:cNvPr>
          <p:cNvSpPr txBox="1"/>
          <p:nvPr/>
        </p:nvSpPr>
        <p:spPr>
          <a:xfrm>
            <a:off x="802236" y="1536574"/>
            <a:ext cx="10585939" cy="1289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推荐系统：推荐系统可以根据用户的历史行为、偏好和需求，向其推荐符合其兴趣和喜好的内容或产品。这种个性化服务可以提供更加满意和有针对性的体验，为用户节省时间和精力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  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85BE416-556A-78B3-E7A7-096F8F932D31}"/>
              </a:ext>
            </a:extLst>
          </p:cNvPr>
          <p:cNvSpPr txBox="1"/>
          <p:nvPr/>
        </p:nvSpPr>
        <p:spPr>
          <a:xfrm>
            <a:off x="669925" y="2918854"/>
            <a:ext cx="4581806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217366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líḋè">
            <a:extLst>
              <a:ext uri="{FF2B5EF4-FFF2-40B4-BE49-F238E27FC236}">
                <a16:creationId xmlns:a16="http://schemas.microsoft.com/office/drawing/2014/main" id="{0CB3EA46-59FA-41F3-B6B9-E6A79DC8338B}"/>
              </a:ext>
            </a:extLst>
          </p:cNvPr>
          <p:cNvSpPr txBox="1"/>
          <p:nvPr/>
        </p:nvSpPr>
        <p:spPr>
          <a:xfrm>
            <a:off x="1150791" y="2533650"/>
            <a:ext cx="4878259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4400" spc="-150" dirty="0">
                <a:solidFill>
                  <a:schemeClr val="bg1"/>
                </a:solidFill>
                <a:latin typeface="Impact" panose="020B0806030902050204" pitchFamily="34" charset="0"/>
              </a:rPr>
              <a:t>05</a:t>
            </a:r>
            <a:endParaRPr lang="zh-CN" altLang="en-US" sz="34400" spc="-15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8" name="îŝḷiḋé">
            <a:extLst>
              <a:ext uri="{FF2B5EF4-FFF2-40B4-BE49-F238E27FC236}">
                <a16:creationId xmlns:a16="http://schemas.microsoft.com/office/drawing/2014/main" id="{3F4AE272-7939-3E86-E925-BC444048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2757" y="3418514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bg1"/>
                </a:solidFill>
              </a:rPr>
              <a:t>项目仓库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2062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CA209D-38BA-F8D3-A093-412C7524A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仓库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52DEB6-67C5-71CC-2E57-48C19EC30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69105A2-1E8D-70E9-F5EF-5C027C8383E1}"/>
              </a:ext>
            </a:extLst>
          </p:cNvPr>
          <p:cNvSpPr txBox="1"/>
          <p:nvPr/>
        </p:nvSpPr>
        <p:spPr>
          <a:xfrm>
            <a:off x="802236" y="1536574"/>
            <a:ext cx="10585939" cy="874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Gite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地址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s://gitee.com/Rw_July/wkll.git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Github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地址：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s://github.com/WRW123/WKLL.git     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  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85BE416-556A-78B3-E7A7-096F8F932D31}"/>
              </a:ext>
            </a:extLst>
          </p:cNvPr>
          <p:cNvSpPr txBox="1"/>
          <p:nvPr/>
        </p:nvSpPr>
        <p:spPr>
          <a:xfrm>
            <a:off x="669925" y="2918854"/>
            <a:ext cx="4581806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513955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ľï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$ḷïd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îṩḻiḍ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íḋ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š1iḑé"/>
          <p:cNvSpPr>
            <a:spLocks noGrp="1"/>
          </p:cNvSpPr>
          <p:nvPr>
            <p:ph type="ctrTitle"/>
          </p:nvPr>
        </p:nvSpPr>
        <p:spPr>
          <a:xfrm>
            <a:off x="1219201" y="1807492"/>
            <a:ext cx="10845799" cy="1621509"/>
          </a:xfrm>
        </p:spPr>
        <p:txBody>
          <a:bodyPr>
            <a:normAutofit/>
          </a:bodyPr>
          <a:lstStyle/>
          <a:p>
            <a:r>
              <a:rPr lang="en-US" altLang="zh-CN" sz="8900" dirty="0">
                <a:solidFill>
                  <a:schemeClr val="bg1"/>
                </a:solidFill>
                <a:latin typeface="Impact" panose="020B0806030902050204" pitchFamily="34" charset="0"/>
              </a:rPr>
              <a:t>Thanks</a:t>
            </a:r>
            <a:endParaRPr lang="zh-CN" altLang="en-US" b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ŝḷiḋé"/>
          <p:cNvSpPr>
            <a:spLocks noGrp="1"/>
          </p:cNvSpPr>
          <p:nvPr>
            <p:ph type="title"/>
          </p:nvPr>
        </p:nvSpPr>
        <p:spPr>
          <a:xfrm>
            <a:off x="5341362" y="3429000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/>
              <a:t>项目背景</a:t>
            </a:r>
            <a:endParaRPr lang="zh-CN" altLang="en-US" sz="6000" dirty="0">
              <a:solidFill>
                <a:schemeClr val="bg1"/>
              </a:solidFill>
            </a:endParaRPr>
          </a:p>
        </p:txBody>
      </p:sp>
      <p:sp>
        <p:nvSpPr>
          <p:cNvPr id="2" name="ïṧlíḋè">
            <a:extLst>
              <a:ext uri="{FF2B5EF4-FFF2-40B4-BE49-F238E27FC236}">
                <a16:creationId xmlns:a16="http://schemas.microsoft.com/office/drawing/2014/main" id="{0CB3EA46-59FA-41F3-B6B9-E6A79DC8338B}"/>
              </a:ext>
            </a:extLst>
          </p:cNvPr>
          <p:cNvSpPr txBox="1"/>
          <p:nvPr/>
        </p:nvSpPr>
        <p:spPr>
          <a:xfrm>
            <a:off x="1150791" y="2533650"/>
            <a:ext cx="4190571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4400" spc="-150" dirty="0">
                <a:solidFill>
                  <a:schemeClr val="bg1"/>
                </a:solidFill>
                <a:latin typeface="Impact" panose="020B0806030902050204" pitchFamily="34" charset="0"/>
              </a:rPr>
              <a:t>01</a:t>
            </a:r>
            <a:endParaRPr lang="zh-CN" altLang="en-US" sz="34400" spc="-15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liḍê">
            <a:extLst>
              <a:ext uri="{FF2B5EF4-FFF2-40B4-BE49-F238E27FC236}">
                <a16:creationId xmlns:a16="http://schemas.microsoft.com/office/drawing/2014/main" id="{1C450653-7751-4A03-9DFB-0D19E0A9C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背景</a:t>
            </a:r>
          </a:p>
        </p:txBody>
      </p:sp>
      <p:sp>
        <p:nvSpPr>
          <p:cNvPr id="4" name="ïṡliḑe">
            <a:extLst>
              <a:ext uri="{FF2B5EF4-FFF2-40B4-BE49-F238E27FC236}">
                <a16:creationId xmlns:a16="http://schemas.microsoft.com/office/drawing/2014/main" id="{5F9C4C7A-A7BC-4E8F-B6A5-F8F9A94B6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EB9E234-EB6D-7660-2C7B-A9DCAE94F68B}"/>
              </a:ext>
            </a:extLst>
          </p:cNvPr>
          <p:cNvSpPr txBox="1"/>
          <p:nvPr/>
        </p:nvSpPr>
        <p:spPr>
          <a:xfrm>
            <a:off x="474060" y="1522316"/>
            <a:ext cx="6133763" cy="3736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2000" dirty="0">
                <a:solidFill>
                  <a:srgbClr val="24292F"/>
                </a:solidFill>
                <a:latin typeface="ali-55"/>
              </a:rPr>
              <a:t>        </a:t>
            </a:r>
            <a:r>
              <a:rPr lang="zh-CN" altLang="en-US" sz="2000" b="0" i="0" dirty="0">
                <a:solidFill>
                  <a:srgbClr val="24292F"/>
                </a:solidFill>
                <a:effectLst/>
                <a:latin typeface="+mn-ea"/>
              </a:rPr>
              <a:t>外卖系统的出现源于消费者对便利和多样化的需求，以及餐饮行业在数字化和智能化方面的发展。随着智能手机的普及和移动支付的流行，越来越多的消费者倾向于使用外卖服务来满足他们的饮食需求</a:t>
            </a:r>
            <a:endParaRPr lang="en-US" altLang="zh-CN" sz="2000" b="0" i="0" dirty="0">
              <a:solidFill>
                <a:srgbClr val="24292F"/>
              </a:solidFill>
              <a:effectLst/>
              <a:latin typeface="+mn-ea"/>
            </a:endParaRPr>
          </a:p>
          <a:p>
            <a:pPr algn="l">
              <a:lnSpc>
                <a:spcPct val="150000"/>
              </a:lnSpc>
            </a:pPr>
            <a:endParaRPr lang="en-US" altLang="zh-CN" sz="20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lnSpc>
                <a:spcPct val="150000"/>
              </a:lnSpc>
            </a:pPr>
            <a:r>
              <a:rPr lang="en-US" altLang="zh-CN" sz="2000" dirty="0">
                <a:solidFill>
                  <a:srgbClr val="374151"/>
                </a:solidFill>
                <a:latin typeface="+mn-ea"/>
              </a:rPr>
              <a:t>       </a:t>
            </a:r>
            <a:r>
              <a:rPr lang="zh-CN" altLang="en-US" sz="2000" b="0" i="0" dirty="0">
                <a:solidFill>
                  <a:srgbClr val="374151"/>
                </a:solidFill>
                <a:effectLst/>
                <a:latin typeface="+mn-ea"/>
              </a:rPr>
              <a:t>在这样的背景下，本项目打造一款满足餐饮消费趋势</a:t>
            </a:r>
            <a:r>
              <a:rPr lang="zh-CN" altLang="en-US" sz="2000" b="0" i="0" dirty="0">
                <a:solidFill>
                  <a:srgbClr val="374151"/>
                </a:solidFill>
                <a:effectLst/>
                <a:latin typeface="Söhne"/>
              </a:rPr>
              <a:t>、数字化转型、移动技术的普及以及数据驱动和个性化服务的需求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5C7954E-9DB9-0FF2-5102-582B8B46EA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6077" y="3390584"/>
            <a:ext cx="5059101" cy="24215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3469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ŝḷiḋé"/>
          <p:cNvSpPr>
            <a:spLocks noGrp="1"/>
          </p:cNvSpPr>
          <p:nvPr>
            <p:ph type="title"/>
          </p:nvPr>
        </p:nvSpPr>
        <p:spPr>
          <a:xfrm>
            <a:off x="5802757" y="3418514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bg1"/>
                </a:solidFill>
              </a:rPr>
              <a:t>产品介绍</a:t>
            </a:r>
          </a:p>
        </p:txBody>
      </p:sp>
      <p:sp>
        <p:nvSpPr>
          <p:cNvPr id="2" name="ïṧlíḋè">
            <a:extLst>
              <a:ext uri="{FF2B5EF4-FFF2-40B4-BE49-F238E27FC236}">
                <a16:creationId xmlns:a16="http://schemas.microsoft.com/office/drawing/2014/main" id="{0CB3EA46-59FA-41F3-B6B9-E6A79DC8338B}"/>
              </a:ext>
            </a:extLst>
          </p:cNvPr>
          <p:cNvSpPr txBox="1"/>
          <p:nvPr/>
        </p:nvSpPr>
        <p:spPr>
          <a:xfrm>
            <a:off x="1150791" y="2474927"/>
            <a:ext cx="4724370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4400" spc="-150" dirty="0">
                <a:solidFill>
                  <a:schemeClr val="bg1"/>
                </a:solidFill>
                <a:latin typeface="Impact" panose="020B0806030902050204" pitchFamily="34" charset="0"/>
              </a:rPr>
              <a:t>02</a:t>
            </a:r>
            <a:endParaRPr lang="zh-CN" altLang="en-US" sz="34400" spc="-15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0963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CA209D-38BA-F8D3-A093-412C7524A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产品简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52DEB6-67C5-71CC-2E57-48C19EC30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69105A2-1E8D-70E9-F5EF-5C027C8383E1}"/>
              </a:ext>
            </a:extLst>
          </p:cNvPr>
          <p:cNvSpPr txBox="1"/>
          <p:nvPr/>
        </p:nvSpPr>
        <p:spPr>
          <a:xfrm>
            <a:off x="835269" y="1565031"/>
            <a:ext cx="10585939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载体，实现把乡村旅游景点和游客联系起来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85BE416-556A-78B3-E7A7-096F8F932D31}"/>
              </a:ext>
            </a:extLst>
          </p:cNvPr>
          <p:cNvSpPr txBox="1"/>
          <p:nvPr/>
        </p:nvSpPr>
        <p:spPr>
          <a:xfrm>
            <a:off x="669925" y="1468316"/>
            <a:ext cx="10585939" cy="3136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sz="2000" dirty="0">
                <a:solidFill>
                  <a:srgbClr val="374151"/>
                </a:solidFill>
                <a:latin typeface="Söhne"/>
              </a:rPr>
              <a:t>         </a:t>
            </a:r>
            <a:r>
              <a:rPr lang="zh-CN" altLang="en-US" sz="2000" dirty="0">
                <a:solidFill>
                  <a:srgbClr val="374151"/>
                </a:solidFill>
                <a:latin typeface="Söhne"/>
              </a:rPr>
              <a:t>提供用户端的微信小程序，用户通过该应用程序可以浏览菜单、下单、支付和跟踪送餐进度。</a:t>
            </a:r>
            <a:endParaRPr lang="en-US" altLang="zh-CN" sz="2000" dirty="0">
              <a:solidFill>
                <a:srgbClr val="374151"/>
              </a:solidFill>
              <a:latin typeface="Söhne"/>
            </a:endParaRP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sz="2000" dirty="0">
                <a:solidFill>
                  <a:srgbClr val="374151"/>
                </a:solidFill>
                <a:latin typeface="Söhne"/>
                <a:sym typeface="+mn-lt"/>
              </a:rPr>
              <a:t>         </a:t>
            </a:r>
            <a:r>
              <a:rPr lang="zh-CN" altLang="en-US" sz="2000" dirty="0">
                <a:solidFill>
                  <a:srgbClr val="374151"/>
                </a:solidFill>
                <a:latin typeface="Söhne"/>
                <a:sym typeface="+mn-lt"/>
              </a:rPr>
              <a:t>提供商家端的管理系统，餐馆或商家可以通过该系统管理菜单、接收订单、管理库存、查看销售报表等。商家可以通过该系统便捷地处理订单并提供高效的服务</a:t>
            </a:r>
            <a:endParaRPr lang="en-US" altLang="zh-CN" sz="2000" dirty="0">
              <a:solidFill>
                <a:srgbClr val="374151"/>
              </a:solidFill>
              <a:latin typeface="Söhne"/>
              <a:sym typeface="+mn-lt"/>
            </a:endParaRP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 	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 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28426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ŝḷiḋé"/>
          <p:cNvSpPr>
            <a:spLocks noGrp="1"/>
          </p:cNvSpPr>
          <p:nvPr>
            <p:ph type="title"/>
          </p:nvPr>
        </p:nvSpPr>
        <p:spPr>
          <a:xfrm>
            <a:off x="5802757" y="3418514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bg1"/>
                </a:solidFill>
              </a:rPr>
              <a:t>产品设计</a:t>
            </a:r>
          </a:p>
        </p:txBody>
      </p:sp>
      <p:sp>
        <p:nvSpPr>
          <p:cNvPr id="2" name="ïṧlíḋè">
            <a:extLst>
              <a:ext uri="{FF2B5EF4-FFF2-40B4-BE49-F238E27FC236}">
                <a16:creationId xmlns:a16="http://schemas.microsoft.com/office/drawing/2014/main" id="{0CB3EA46-59FA-41F3-B6B9-E6A79DC8338B}"/>
              </a:ext>
            </a:extLst>
          </p:cNvPr>
          <p:cNvSpPr txBox="1"/>
          <p:nvPr/>
        </p:nvSpPr>
        <p:spPr>
          <a:xfrm>
            <a:off x="1150791" y="2391037"/>
            <a:ext cx="4849404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4400" spc="-150" dirty="0">
                <a:solidFill>
                  <a:schemeClr val="bg1"/>
                </a:solidFill>
                <a:latin typeface="Impact" panose="020B0806030902050204" pitchFamily="34" charset="0"/>
              </a:rPr>
              <a:t>03</a:t>
            </a:r>
            <a:endParaRPr lang="zh-CN" altLang="en-US" sz="34400" spc="-15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502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1i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sliḍê">
            <a:extLst>
              <a:ext uri="{FF2B5EF4-FFF2-40B4-BE49-F238E27FC236}">
                <a16:creationId xmlns:a16="http://schemas.microsoft.com/office/drawing/2014/main" id="{1C450653-7751-4A03-9DFB-0D19E0A9C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过程设计</a:t>
            </a:r>
          </a:p>
        </p:txBody>
      </p:sp>
      <p:sp>
        <p:nvSpPr>
          <p:cNvPr id="4" name="ïṡliḑe">
            <a:extLst>
              <a:ext uri="{FF2B5EF4-FFF2-40B4-BE49-F238E27FC236}">
                <a16:creationId xmlns:a16="http://schemas.microsoft.com/office/drawing/2014/main" id="{5F9C4C7A-A7BC-4E8F-B6A5-F8F9A94B6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10">
            <a:extLst>
              <a:ext uri="{FF2B5EF4-FFF2-40B4-BE49-F238E27FC236}">
                <a16:creationId xmlns:a16="http://schemas.microsoft.com/office/drawing/2014/main" id="{9E69A20C-703D-2F6B-9447-E1087991A87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136650" y="6396038"/>
            <a:ext cx="360363" cy="34766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文本框 11">
            <a:extLst>
              <a:ext uri="{FF2B5EF4-FFF2-40B4-BE49-F238E27FC236}">
                <a16:creationId xmlns:a16="http://schemas.microsoft.com/office/drawing/2014/main" id="{81A99C54-9D08-3ED7-B839-EB2AFFB79B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3200" y="6381750"/>
            <a:ext cx="1916113" cy="35242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仿宋" panose="02010609060101010101" pitchFamily="49" charset="-122"/>
                <a:ea typeface="仿宋" panose="02010609060101010101" pitchFamily="49" charset="-122"/>
                <a:cs typeface="+mn-cs"/>
              </a:rPr>
              <a:t>中 国 人 工 智 能 学 会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仿宋" panose="02010609060101010101" pitchFamily="49" charset="-122"/>
              <a:ea typeface="仿宋" panose="02010609060101010101" pitchFamily="49" charset="-122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inese Association for Artificial Intelligence</a:t>
            </a:r>
            <a:endParaRPr kumimoji="0" lang="zh-CN" altLang="en-US" sz="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文本框 8">
            <a:extLst>
              <a:ext uri="{FF2B5EF4-FFF2-40B4-BE49-F238E27FC236}">
                <a16:creationId xmlns:a16="http://schemas.microsoft.com/office/drawing/2014/main" id="{3B7CB387-1D3F-BD3C-8610-B6735521D1EB}"/>
              </a:ext>
            </a:extLst>
          </p:cNvPr>
          <p:cNvSpPr txBox="1"/>
          <p:nvPr/>
        </p:nvSpPr>
        <p:spPr>
          <a:xfrm>
            <a:off x="176213" y="6437313"/>
            <a:ext cx="954087" cy="276225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r>
              <a:rPr lang="zh-CN" altLang="en-US" sz="1200" b="1" dirty="0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主办单位：</a:t>
            </a: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E7A472FD-2BFF-467D-F507-52392F8C27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867087" y="2201795"/>
            <a:ext cx="2217665" cy="2217665"/>
          </a:xfrm>
          <a:prstGeom prst="ellipse">
            <a:avLst/>
          </a:prstGeom>
          <a:solidFill>
            <a:srgbClr val="7AC2C7">
              <a:lumMod val="75000"/>
            </a:srgbClr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D8E32BE6-9465-25AA-E859-F9EBBA669A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54325" y="2089033"/>
            <a:ext cx="2443189" cy="2443189"/>
          </a:xfrm>
          <a:prstGeom prst="ellipse">
            <a:avLst/>
          </a:prstGeom>
          <a:noFill/>
          <a:ln w="28575">
            <a:solidFill>
              <a:srgbClr val="7AC2C7">
                <a:lumMod val="75000"/>
              </a:srgb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199A554D-B217-C73A-7FBF-30F0BDDA2D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34130" y="1468838"/>
            <a:ext cx="3683579" cy="3683579"/>
          </a:xfrm>
          <a:prstGeom prst="ellipse">
            <a:avLst/>
          </a:prstGeom>
          <a:noFill/>
          <a:ln w="19050">
            <a:solidFill>
              <a:srgbClr val="79B6D3">
                <a:lumMod val="50000"/>
              </a:srgbClr>
            </a:solidFill>
            <a:prstDash val="dash"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E5F0EBA5-CAF5-2336-FC69-CD5B8B309EF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247460" y="2124882"/>
            <a:ext cx="626632" cy="626632"/>
          </a:xfrm>
          <a:prstGeom prst="ellipse">
            <a:avLst/>
          </a:prstGeom>
          <a:solidFill>
            <a:sysClr val="window" lastClr="FFFFFF"/>
          </a:solidFill>
          <a:ln w="19050">
            <a:solidFill>
              <a:srgbClr val="8590CA">
                <a:lumMod val="75000"/>
              </a:srgb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D2A3B4A9-9105-869C-ADBB-1AFABBDEFED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127695" y="2124882"/>
            <a:ext cx="626632" cy="626632"/>
          </a:xfrm>
          <a:prstGeom prst="ellipse">
            <a:avLst/>
          </a:prstGeom>
          <a:solidFill>
            <a:sysClr val="window" lastClr="FFFFFF"/>
          </a:solidFill>
          <a:ln w="19050">
            <a:solidFill>
              <a:srgbClr val="8590CA">
                <a:lumMod val="75000"/>
              </a:srgb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5C19DB43-550C-03F4-61D1-3778D1C2221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27695" y="4055946"/>
            <a:ext cx="626632" cy="626632"/>
          </a:xfrm>
          <a:prstGeom prst="ellipse">
            <a:avLst/>
          </a:prstGeom>
          <a:solidFill>
            <a:sysClr val="window" lastClr="FFFFFF"/>
          </a:solidFill>
          <a:ln w="19050">
            <a:solidFill>
              <a:srgbClr val="79BB8F">
                <a:lumMod val="75000"/>
              </a:srgb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0D22F2AD-902C-606C-98CC-9D8BE1F3032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247460" y="4060639"/>
            <a:ext cx="626632" cy="626632"/>
          </a:xfrm>
          <a:prstGeom prst="ellipse">
            <a:avLst/>
          </a:prstGeom>
          <a:solidFill>
            <a:sysClr val="window" lastClr="FFFFFF"/>
          </a:solidFill>
          <a:ln w="19050">
            <a:solidFill>
              <a:srgbClr val="8EAADC">
                <a:lumMod val="75000"/>
              </a:srgb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81841A0E-0209-E308-E6C9-CBD45585E2A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241491" y="2253969"/>
            <a:ext cx="399040" cy="368457"/>
          </a:xfrm>
          <a:custGeom>
            <a:avLst/>
            <a:gdLst>
              <a:gd name="T0" fmla="*/ 326372 w 144"/>
              <a:gd name="T1" fmla="*/ 0 h 132"/>
              <a:gd name="T2" fmla="*/ 108791 w 144"/>
              <a:gd name="T3" fmla="*/ 0 h 132"/>
              <a:gd name="T4" fmla="*/ 0 w 144"/>
              <a:gd name="T5" fmla="*/ 109333 h 132"/>
              <a:gd name="T6" fmla="*/ 0 w 144"/>
              <a:gd name="T7" fmla="*/ 182222 h 132"/>
              <a:gd name="T8" fmla="*/ 108791 w 144"/>
              <a:gd name="T9" fmla="*/ 291556 h 132"/>
              <a:gd name="T10" fmla="*/ 126923 w 144"/>
              <a:gd name="T11" fmla="*/ 291556 h 132"/>
              <a:gd name="T12" fmla="*/ 126923 w 144"/>
              <a:gd name="T13" fmla="*/ 400889 h 132"/>
              <a:gd name="T14" fmla="*/ 250823 w 144"/>
              <a:gd name="T15" fmla="*/ 291556 h 132"/>
              <a:gd name="T16" fmla="*/ 326372 w 144"/>
              <a:gd name="T17" fmla="*/ 291556 h 132"/>
              <a:gd name="T18" fmla="*/ 435163 w 144"/>
              <a:gd name="T19" fmla="*/ 182222 h 132"/>
              <a:gd name="T20" fmla="*/ 435163 w 144"/>
              <a:gd name="T21" fmla="*/ 109333 h 132"/>
              <a:gd name="T22" fmla="*/ 326372 w 144"/>
              <a:gd name="T23" fmla="*/ 0 h 13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32">
                <a:moveTo>
                  <a:pt x="108" y="0"/>
                </a:moveTo>
                <a:cubicBezTo>
                  <a:pt x="36" y="0"/>
                  <a:pt x="3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80"/>
                  <a:pt x="16" y="96"/>
                  <a:pt x="36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83" y="96"/>
                  <a:pt x="83" y="96"/>
                  <a:pt x="83" y="96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28" y="96"/>
                  <a:pt x="144" y="80"/>
                  <a:pt x="144" y="60"/>
                </a:cubicBezTo>
                <a:cubicBezTo>
                  <a:pt x="144" y="36"/>
                  <a:pt x="144" y="36"/>
                  <a:pt x="144" y="36"/>
                </a:cubicBezTo>
                <a:cubicBezTo>
                  <a:pt x="144" y="16"/>
                  <a:pt x="128" y="0"/>
                  <a:pt x="108" y="0"/>
                </a:cubicBezTo>
              </a:path>
            </a:pathLst>
          </a:custGeom>
          <a:solidFill>
            <a:srgbClr val="8590CA">
              <a:alpha val="70195"/>
            </a:srgbClr>
          </a:solidFill>
          <a:ln>
            <a:noFill/>
          </a:ln>
        </p:spPr>
        <p:txBody>
          <a:bodyPr lIns="121920" tIns="60960" rIns="121920" bIns="60960"/>
          <a:lstStyle/>
          <a:p>
            <a:pPr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" name="Freeform 145">
            <a:extLst>
              <a:ext uri="{FF2B5EF4-FFF2-40B4-BE49-F238E27FC236}">
                <a16:creationId xmlns:a16="http://schemas.microsoft.com/office/drawing/2014/main" id="{A638B104-90FF-EB7B-09BA-A4409C51866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 rot="4268999">
            <a:off x="7319488" y="2227474"/>
            <a:ext cx="498407" cy="418487"/>
          </a:xfrm>
          <a:custGeom>
            <a:avLst/>
            <a:gdLst>
              <a:gd name="T0" fmla="*/ 328713 w 179"/>
              <a:gd name="T1" fmla="*/ 0 h 150"/>
              <a:gd name="T2" fmla="*/ 401760 w 179"/>
              <a:gd name="T3" fmla="*/ 109371 h 150"/>
              <a:gd name="T4" fmla="*/ 410891 w 179"/>
              <a:gd name="T5" fmla="*/ 103294 h 150"/>
              <a:gd name="T6" fmla="*/ 526549 w 179"/>
              <a:gd name="T7" fmla="*/ 100256 h 150"/>
              <a:gd name="T8" fmla="*/ 432196 w 179"/>
              <a:gd name="T9" fmla="*/ 176208 h 150"/>
              <a:gd name="T10" fmla="*/ 490026 w 179"/>
              <a:gd name="T11" fmla="*/ 294693 h 150"/>
              <a:gd name="T12" fmla="*/ 386542 w 179"/>
              <a:gd name="T13" fmla="*/ 352417 h 150"/>
              <a:gd name="T14" fmla="*/ 377411 w 179"/>
              <a:gd name="T15" fmla="*/ 343302 h 150"/>
              <a:gd name="T16" fmla="*/ 273927 w 179"/>
              <a:gd name="T17" fmla="*/ 291655 h 150"/>
              <a:gd name="T18" fmla="*/ 325669 w 179"/>
              <a:gd name="T19" fmla="*/ 394950 h 150"/>
              <a:gd name="T20" fmla="*/ 225229 w 179"/>
              <a:gd name="T21" fmla="*/ 455711 h 150"/>
              <a:gd name="T22" fmla="*/ 155225 w 179"/>
              <a:gd name="T23" fmla="*/ 343302 h 150"/>
              <a:gd name="T24" fmla="*/ 143051 w 179"/>
              <a:gd name="T25" fmla="*/ 349378 h 150"/>
              <a:gd name="T26" fmla="*/ 24349 w 179"/>
              <a:gd name="T27" fmla="*/ 361531 h 150"/>
              <a:gd name="T28" fmla="*/ 109571 w 179"/>
              <a:gd name="T29" fmla="*/ 285579 h 150"/>
              <a:gd name="T30" fmla="*/ 115658 w 179"/>
              <a:gd name="T31" fmla="*/ 279503 h 150"/>
              <a:gd name="T32" fmla="*/ 54785 w 179"/>
              <a:gd name="T33" fmla="*/ 161018 h 150"/>
              <a:gd name="T34" fmla="*/ 161313 w 179"/>
              <a:gd name="T35" fmla="*/ 100256 h 150"/>
              <a:gd name="T36" fmla="*/ 219142 w 179"/>
              <a:gd name="T37" fmla="*/ 197475 h 150"/>
              <a:gd name="T38" fmla="*/ 273927 w 179"/>
              <a:gd name="T39" fmla="*/ 94180 h 150"/>
              <a:gd name="T40" fmla="*/ 225229 w 179"/>
              <a:gd name="T41" fmla="*/ 72914 h 150"/>
              <a:gd name="T42" fmla="*/ 228273 w 179"/>
              <a:gd name="T43" fmla="*/ 57723 h 150"/>
              <a:gd name="T44" fmla="*/ 328713 w 179"/>
              <a:gd name="T45" fmla="*/ 0 h 1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79" h="150">
                <a:moveTo>
                  <a:pt x="108" y="0"/>
                </a:moveTo>
                <a:cubicBezTo>
                  <a:pt x="114" y="11"/>
                  <a:pt x="124" y="33"/>
                  <a:pt x="132" y="36"/>
                </a:cubicBezTo>
                <a:cubicBezTo>
                  <a:pt x="133" y="36"/>
                  <a:pt x="134" y="35"/>
                  <a:pt x="135" y="34"/>
                </a:cubicBezTo>
                <a:cubicBezTo>
                  <a:pt x="137" y="14"/>
                  <a:pt x="168" y="6"/>
                  <a:pt x="173" y="33"/>
                </a:cubicBezTo>
                <a:cubicBezTo>
                  <a:pt x="179" y="61"/>
                  <a:pt x="154" y="50"/>
                  <a:pt x="142" y="58"/>
                </a:cubicBezTo>
                <a:cubicBezTo>
                  <a:pt x="148" y="71"/>
                  <a:pt x="155" y="84"/>
                  <a:pt x="161" y="97"/>
                </a:cubicBezTo>
                <a:cubicBezTo>
                  <a:pt x="152" y="102"/>
                  <a:pt x="137" y="114"/>
                  <a:pt x="127" y="116"/>
                </a:cubicBezTo>
                <a:cubicBezTo>
                  <a:pt x="125" y="116"/>
                  <a:pt x="125" y="114"/>
                  <a:pt x="124" y="113"/>
                </a:cubicBezTo>
                <a:cubicBezTo>
                  <a:pt x="128" y="90"/>
                  <a:pt x="112" y="72"/>
                  <a:pt x="90" y="96"/>
                </a:cubicBezTo>
                <a:cubicBezTo>
                  <a:pt x="72" y="115"/>
                  <a:pt x="109" y="125"/>
                  <a:pt x="107" y="130"/>
                </a:cubicBezTo>
                <a:cubicBezTo>
                  <a:pt x="96" y="137"/>
                  <a:pt x="85" y="143"/>
                  <a:pt x="74" y="150"/>
                </a:cubicBezTo>
                <a:cubicBezTo>
                  <a:pt x="66" y="138"/>
                  <a:pt x="59" y="125"/>
                  <a:pt x="51" y="113"/>
                </a:cubicBezTo>
                <a:cubicBezTo>
                  <a:pt x="50" y="114"/>
                  <a:pt x="48" y="115"/>
                  <a:pt x="47" y="115"/>
                </a:cubicBezTo>
                <a:cubicBezTo>
                  <a:pt x="42" y="132"/>
                  <a:pt x="18" y="149"/>
                  <a:pt x="8" y="119"/>
                </a:cubicBezTo>
                <a:cubicBezTo>
                  <a:pt x="0" y="94"/>
                  <a:pt x="22" y="96"/>
                  <a:pt x="36" y="94"/>
                </a:cubicBezTo>
                <a:cubicBezTo>
                  <a:pt x="37" y="93"/>
                  <a:pt x="38" y="93"/>
                  <a:pt x="38" y="92"/>
                </a:cubicBezTo>
                <a:cubicBezTo>
                  <a:pt x="32" y="79"/>
                  <a:pt x="24" y="66"/>
                  <a:pt x="18" y="53"/>
                </a:cubicBezTo>
                <a:cubicBezTo>
                  <a:pt x="29" y="47"/>
                  <a:pt x="41" y="40"/>
                  <a:pt x="53" y="33"/>
                </a:cubicBezTo>
                <a:cubicBezTo>
                  <a:pt x="62" y="42"/>
                  <a:pt x="48" y="65"/>
                  <a:pt x="72" y="65"/>
                </a:cubicBezTo>
                <a:cubicBezTo>
                  <a:pt x="87" y="64"/>
                  <a:pt x="100" y="45"/>
                  <a:pt x="90" y="31"/>
                </a:cubicBezTo>
                <a:cubicBezTo>
                  <a:pt x="84" y="28"/>
                  <a:pt x="76" y="28"/>
                  <a:pt x="74" y="24"/>
                </a:cubicBezTo>
                <a:cubicBezTo>
                  <a:pt x="72" y="19"/>
                  <a:pt x="74" y="21"/>
                  <a:pt x="75" y="19"/>
                </a:cubicBezTo>
                <a:cubicBezTo>
                  <a:pt x="86" y="13"/>
                  <a:pt x="97" y="6"/>
                  <a:pt x="108" y="0"/>
                </a:cubicBezTo>
              </a:path>
            </a:pathLst>
          </a:custGeom>
          <a:solidFill>
            <a:srgbClr val="8590CA">
              <a:lumMod val="75000"/>
              <a:alpha val="70195"/>
            </a:srgbClr>
          </a:solidFill>
          <a:ln>
            <a:noFill/>
          </a:ln>
        </p:spPr>
        <p:txBody>
          <a:bodyPr lIns="121920" tIns="60960" rIns="121920" bIns="60960"/>
          <a:lstStyle/>
          <a:p>
            <a:pPr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9" name="Freeform 186">
            <a:extLst>
              <a:ext uri="{FF2B5EF4-FFF2-40B4-BE49-F238E27FC236}">
                <a16:creationId xmlns:a16="http://schemas.microsoft.com/office/drawing/2014/main" id="{30F03B48-A27C-F736-09FA-0EA87C67B2E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19864599">
            <a:off x="4325491" y="4152753"/>
            <a:ext cx="231041" cy="433018"/>
          </a:xfrm>
          <a:custGeom>
            <a:avLst/>
            <a:gdLst>
              <a:gd name="T0" fmla="*/ 253560 w 84"/>
              <a:gd name="T1" fmla="*/ 72745 h 156"/>
              <a:gd name="T2" fmla="*/ 253560 w 84"/>
              <a:gd name="T3" fmla="*/ 345540 h 156"/>
              <a:gd name="T4" fmla="*/ 126780 w 84"/>
              <a:gd name="T5" fmla="*/ 472844 h 156"/>
              <a:gd name="T6" fmla="*/ 0 w 84"/>
              <a:gd name="T7" fmla="*/ 345540 h 156"/>
              <a:gd name="T8" fmla="*/ 0 w 84"/>
              <a:gd name="T9" fmla="*/ 90932 h 156"/>
              <a:gd name="T10" fmla="*/ 12074 w 84"/>
              <a:gd name="T11" fmla="*/ 45466 h 156"/>
              <a:gd name="T12" fmla="*/ 90557 w 84"/>
              <a:gd name="T13" fmla="*/ 0 h 156"/>
              <a:gd name="T14" fmla="*/ 169040 w 84"/>
              <a:gd name="T15" fmla="*/ 45466 h 156"/>
              <a:gd name="T16" fmla="*/ 181114 w 84"/>
              <a:gd name="T17" fmla="*/ 90932 h 156"/>
              <a:gd name="T18" fmla="*/ 181114 w 84"/>
              <a:gd name="T19" fmla="*/ 327354 h 156"/>
              <a:gd name="T20" fmla="*/ 126780 w 84"/>
              <a:gd name="T21" fmla="*/ 381912 h 156"/>
              <a:gd name="T22" fmla="*/ 72446 w 84"/>
              <a:gd name="T23" fmla="*/ 327354 h 156"/>
              <a:gd name="T24" fmla="*/ 72446 w 84"/>
              <a:gd name="T25" fmla="*/ 163677 h 156"/>
              <a:gd name="T26" fmla="*/ 90557 w 84"/>
              <a:gd name="T27" fmla="*/ 145490 h 156"/>
              <a:gd name="T28" fmla="*/ 108669 w 84"/>
              <a:gd name="T29" fmla="*/ 163677 h 156"/>
              <a:gd name="T30" fmla="*/ 108669 w 84"/>
              <a:gd name="T31" fmla="*/ 327354 h 156"/>
              <a:gd name="T32" fmla="*/ 126780 w 84"/>
              <a:gd name="T33" fmla="*/ 345540 h 156"/>
              <a:gd name="T34" fmla="*/ 144891 w 84"/>
              <a:gd name="T35" fmla="*/ 327354 h 156"/>
              <a:gd name="T36" fmla="*/ 144891 w 84"/>
              <a:gd name="T37" fmla="*/ 90932 h 156"/>
              <a:gd name="T38" fmla="*/ 90557 w 84"/>
              <a:gd name="T39" fmla="*/ 36373 h 156"/>
              <a:gd name="T40" fmla="*/ 42260 w 84"/>
              <a:gd name="T41" fmla="*/ 63652 h 156"/>
              <a:gd name="T42" fmla="*/ 36223 w 84"/>
              <a:gd name="T43" fmla="*/ 90932 h 156"/>
              <a:gd name="T44" fmla="*/ 36223 w 84"/>
              <a:gd name="T45" fmla="*/ 345540 h 156"/>
              <a:gd name="T46" fmla="*/ 126780 w 84"/>
              <a:gd name="T47" fmla="*/ 436471 h 156"/>
              <a:gd name="T48" fmla="*/ 217337 w 84"/>
              <a:gd name="T49" fmla="*/ 345540 h 156"/>
              <a:gd name="T50" fmla="*/ 217337 w 84"/>
              <a:gd name="T51" fmla="*/ 72745 h 156"/>
              <a:gd name="T52" fmla="*/ 235449 w 84"/>
              <a:gd name="T53" fmla="*/ 54559 h 156"/>
              <a:gd name="T54" fmla="*/ 253560 w 84"/>
              <a:gd name="T55" fmla="*/ 72745 h 15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84" h="156">
                <a:moveTo>
                  <a:pt x="84" y="24"/>
                </a:moveTo>
                <a:cubicBezTo>
                  <a:pt x="84" y="114"/>
                  <a:pt x="84" y="114"/>
                  <a:pt x="84" y="114"/>
                </a:cubicBezTo>
                <a:cubicBezTo>
                  <a:pt x="84" y="129"/>
                  <a:pt x="75" y="156"/>
                  <a:pt x="42" y="156"/>
                </a:cubicBezTo>
                <a:cubicBezTo>
                  <a:pt x="9" y="156"/>
                  <a:pt x="0" y="129"/>
                  <a:pt x="0" y="114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29"/>
                  <a:pt x="0" y="22"/>
                  <a:pt x="4" y="15"/>
                </a:cubicBezTo>
                <a:cubicBezTo>
                  <a:pt x="9" y="5"/>
                  <a:pt x="18" y="0"/>
                  <a:pt x="30" y="0"/>
                </a:cubicBezTo>
                <a:cubicBezTo>
                  <a:pt x="42" y="0"/>
                  <a:pt x="51" y="5"/>
                  <a:pt x="56" y="15"/>
                </a:cubicBezTo>
                <a:cubicBezTo>
                  <a:pt x="60" y="22"/>
                  <a:pt x="60" y="29"/>
                  <a:pt x="60" y="30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15"/>
                  <a:pt x="55" y="126"/>
                  <a:pt x="42" y="126"/>
                </a:cubicBezTo>
                <a:cubicBezTo>
                  <a:pt x="29" y="126"/>
                  <a:pt x="24" y="115"/>
                  <a:pt x="24" y="108"/>
                </a:cubicBezTo>
                <a:cubicBezTo>
                  <a:pt x="24" y="54"/>
                  <a:pt x="24" y="54"/>
                  <a:pt x="24" y="54"/>
                </a:cubicBezTo>
                <a:cubicBezTo>
                  <a:pt x="24" y="51"/>
                  <a:pt x="27" y="48"/>
                  <a:pt x="30" y="48"/>
                </a:cubicBezTo>
                <a:cubicBezTo>
                  <a:pt x="33" y="48"/>
                  <a:pt x="36" y="51"/>
                  <a:pt x="36" y="54"/>
                </a:cubicBezTo>
                <a:cubicBezTo>
                  <a:pt x="36" y="108"/>
                  <a:pt x="36" y="108"/>
                  <a:pt x="36" y="108"/>
                </a:cubicBezTo>
                <a:cubicBezTo>
                  <a:pt x="36" y="111"/>
                  <a:pt x="37" y="114"/>
                  <a:pt x="42" y="114"/>
                </a:cubicBezTo>
                <a:cubicBezTo>
                  <a:pt x="47" y="114"/>
                  <a:pt x="48" y="111"/>
                  <a:pt x="48" y="108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27"/>
                  <a:pt x="47" y="12"/>
                  <a:pt x="30" y="12"/>
                </a:cubicBezTo>
                <a:cubicBezTo>
                  <a:pt x="22" y="12"/>
                  <a:pt x="17" y="15"/>
                  <a:pt x="14" y="21"/>
                </a:cubicBezTo>
                <a:cubicBezTo>
                  <a:pt x="12" y="25"/>
                  <a:pt x="12" y="30"/>
                  <a:pt x="12" y="30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17"/>
                  <a:pt x="13" y="144"/>
                  <a:pt x="42" y="144"/>
                </a:cubicBezTo>
                <a:cubicBezTo>
                  <a:pt x="72" y="144"/>
                  <a:pt x="72" y="115"/>
                  <a:pt x="72" y="114"/>
                </a:cubicBezTo>
                <a:cubicBezTo>
                  <a:pt x="72" y="24"/>
                  <a:pt x="72" y="24"/>
                  <a:pt x="72" y="24"/>
                </a:cubicBezTo>
                <a:cubicBezTo>
                  <a:pt x="72" y="21"/>
                  <a:pt x="75" y="18"/>
                  <a:pt x="78" y="18"/>
                </a:cubicBezTo>
                <a:cubicBezTo>
                  <a:pt x="81" y="18"/>
                  <a:pt x="84" y="21"/>
                  <a:pt x="84" y="24"/>
                </a:cubicBezTo>
              </a:path>
            </a:pathLst>
          </a:custGeom>
          <a:solidFill>
            <a:srgbClr val="79BB8F">
              <a:alpha val="70195"/>
            </a:srgbClr>
          </a:solidFill>
          <a:ln>
            <a:noFill/>
          </a:ln>
        </p:spPr>
        <p:txBody>
          <a:bodyPr lIns="121920" tIns="60960" rIns="121920" bIns="60960"/>
          <a:lstStyle/>
          <a:p>
            <a:pPr>
              <a:lnSpc>
                <a:spcPct val="120000"/>
              </a:lnSpc>
            </a:pP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D57250DF-A656-9083-6E19-5DA345D655AF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7355631" y="4227422"/>
            <a:ext cx="410289" cy="293064"/>
            <a:chOff x="10429875" y="6022975"/>
            <a:chExt cx="455613" cy="325438"/>
          </a:xfrm>
          <a:solidFill>
            <a:srgbClr val="8EAADC"/>
          </a:solidFill>
        </p:grpSpPr>
        <p:sp>
          <p:nvSpPr>
            <p:cNvPr id="21" name="Freeform 293">
              <a:extLst>
                <a:ext uri="{FF2B5EF4-FFF2-40B4-BE49-F238E27FC236}">
                  <a16:creationId xmlns:a16="http://schemas.microsoft.com/office/drawing/2014/main" id="{2A8260D7-940B-78A3-E0A4-AC03F8BB2DB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auto">
            <a:xfrm>
              <a:off x="10429875" y="6137275"/>
              <a:ext cx="455613" cy="211138"/>
            </a:xfrm>
            <a:custGeom>
              <a:avLst/>
              <a:gdLst>
                <a:gd name="T0" fmla="*/ 373711 w 151"/>
                <a:gd name="T1" fmla="*/ 0 h 70"/>
                <a:gd name="T2" fmla="*/ 15069 w 151"/>
                <a:gd name="T3" fmla="*/ 0 h 70"/>
                <a:gd name="T4" fmla="*/ 3014 w 151"/>
                <a:gd name="T5" fmla="*/ 15119 h 70"/>
                <a:gd name="T6" fmla="*/ 63290 w 151"/>
                <a:gd name="T7" fmla="*/ 196548 h 70"/>
                <a:gd name="T8" fmla="*/ 84386 w 151"/>
                <a:gd name="T9" fmla="*/ 211667 h 70"/>
                <a:gd name="T10" fmla="*/ 440014 w 151"/>
                <a:gd name="T11" fmla="*/ 211667 h 70"/>
                <a:gd name="T12" fmla="*/ 455083 w 151"/>
                <a:gd name="T13" fmla="*/ 196548 h 70"/>
                <a:gd name="T14" fmla="*/ 394807 w 151"/>
                <a:gd name="T15" fmla="*/ 15119 h 70"/>
                <a:gd name="T16" fmla="*/ 373711 w 151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1" h="70">
                  <a:moveTo>
                    <a:pt x="12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1" y="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8"/>
                    <a:pt x="25" y="70"/>
                    <a:pt x="28" y="70"/>
                  </a:cubicBezTo>
                  <a:cubicBezTo>
                    <a:pt x="146" y="70"/>
                    <a:pt x="146" y="70"/>
                    <a:pt x="146" y="70"/>
                  </a:cubicBezTo>
                  <a:cubicBezTo>
                    <a:pt x="149" y="70"/>
                    <a:pt x="151" y="68"/>
                    <a:pt x="151" y="65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0" y="2"/>
                    <a:pt x="127" y="0"/>
                    <a:pt x="12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121920" tIns="60960" rIns="121920" bIns="60960"/>
            <a:lstStyle/>
            <a:p>
              <a:pPr>
                <a:lnSpc>
                  <a:spcPct val="120000"/>
                </a:lnSpc>
              </a:pPr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22" name="Freeform 294">
              <a:extLst>
                <a:ext uri="{FF2B5EF4-FFF2-40B4-BE49-F238E27FC236}">
                  <a16:creationId xmlns:a16="http://schemas.microsoft.com/office/drawing/2014/main" id="{C8A75A11-A641-726D-722E-34691D9ADB6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auto">
            <a:xfrm>
              <a:off x="10493375" y="6022975"/>
              <a:ext cx="392113" cy="257175"/>
            </a:xfrm>
            <a:custGeom>
              <a:avLst/>
              <a:gdLst>
                <a:gd name="T0" fmla="*/ 331339 w 130"/>
                <a:gd name="T1" fmla="*/ 102092 h 86"/>
                <a:gd name="T2" fmla="*/ 346400 w 130"/>
                <a:gd name="T3" fmla="*/ 123111 h 86"/>
                <a:gd name="T4" fmla="*/ 391583 w 130"/>
                <a:gd name="T5" fmla="*/ 258233 h 86"/>
                <a:gd name="T6" fmla="*/ 391583 w 130"/>
                <a:gd name="T7" fmla="*/ 42038 h 86"/>
                <a:gd name="T8" fmla="*/ 364473 w 130"/>
                <a:gd name="T9" fmla="*/ 0 h 86"/>
                <a:gd name="T10" fmla="*/ 271096 w 130"/>
                <a:gd name="T11" fmla="*/ 0 h 86"/>
                <a:gd name="T12" fmla="*/ 234950 w 130"/>
                <a:gd name="T13" fmla="*/ 60054 h 86"/>
                <a:gd name="T14" fmla="*/ 18073 w 130"/>
                <a:gd name="T15" fmla="*/ 60054 h 86"/>
                <a:gd name="T16" fmla="*/ 0 w 130"/>
                <a:gd name="T17" fmla="*/ 78070 h 86"/>
                <a:gd name="T18" fmla="*/ 0 w 130"/>
                <a:gd name="T19" fmla="*/ 96087 h 86"/>
                <a:gd name="T20" fmla="*/ 310254 w 130"/>
                <a:gd name="T21" fmla="*/ 96087 h 86"/>
                <a:gd name="T22" fmla="*/ 331339 w 130"/>
                <a:gd name="T23" fmla="*/ 102092 h 8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0" h="86">
                  <a:moveTo>
                    <a:pt x="110" y="34"/>
                  </a:moveTo>
                  <a:cubicBezTo>
                    <a:pt x="112" y="36"/>
                    <a:pt x="114" y="38"/>
                    <a:pt x="115" y="41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30" y="14"/>
                    <a:pt x="130" y="14"/>
                    <a:pt x="130" y="14"/>
                  </a:cubicBezTo>
                  <a:cubicBezTo>
                    <a:pt x="130" y="14"/>
                    <a:pt x="130" y="0"/>
                    <a:pt x="121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3" y="0"/>
                    <a:pt x="80" y="11"/>
                    <a:pt x="78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3" y="20"/>
                    <a:pt x="0" y="22"/>
                    <a:pt x="0" y="2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5" y="32"/>
                    <a:pt x="108" y="33"/>
                    <a:pt x="110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121920" tIns="60960" rIns="121920" bIns="60960"/>
            <a:lstStyle/>
            <a:p>
              <a:pPr>
                <a:lnSpc>
                  <a:spcPct val="120000"/>
                </a:lnSpc>
              </a:pPr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</p:grpSp>
      <p:sp>
        <p:nvSpPr>
          <p:cNvPr id="23" name="文本框 22">
            <a:extLst>
              <a:ext uri="{FF2B5EF4-FFF2-40B4-BE49-F238E27FC236}">
                <a16:creationId xmlns:a16="http://schemas.microsoft.com/office/drawing/2014/main" id="{CE965182-58F8-A398-C732-B99CCFCC7A9B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25048" y="1587710"/>
            <a:ext cx="3086504" cy="41127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b="1" dirty="0"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规范制定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7111B7A2-4706-6DD6-2F1F-925ECA945CE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13715" y="1998980"/>
            <a:ext cx="3086735" cy="15163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spc="150" dirty="0"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宋体" panose="02010600030101010101" pitchFamily="2" charset="-122"/>
              </a:rPr>
              <a:t>      </a:t>
            </a:r>
            <a:r>
              <a:rPr lang="zh-CN" altLang="en-US" sz="1400" spc="150" dirty="0"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宋体" panose="02010600030101010101" pitchFamily="2" charset="-122"/>
              </a:rPr>
              <a:t>在制定设计规范过程中，遵循App设计规范，保证设计规范考虑的更切合实际、更全面、更完整。确保设计风格匹配用户人群的喜好，符合APP的定位以及</a:t>
            </a:r>
            <a:r>
              <a:rPr lang="zh-CN" altLang="en-US" sz="1400" spc="150" dirty="0">
                <a:solidFill>
                  <a:schemeClr val="bg1"/>
                </a:solidFill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宋体" panose="02010600030101010101" pitchFamily="2" charset="-122"/>
              </a:rPr>
              <a:t>给用户传递APP正面良好的形象。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9AA9984-8EC2-CEE6-80C8-09998FB6DB5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14164" y="3772261"/>
            <a:ext cx="3086504" cy="41127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基础依赖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49DFEBB5-7E90-B342-70EA-839527D2CBCA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04191" y="4201160"/>
            <a:ext cx="2748808" cy="12611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300" spc="150" dirty="0">
                <a:uFillTx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宋体" panose="02010600030101010101" pitchFamily="2" charset="-122"/>
              </a:rPr>
              <a:t>     </a:t>
            </a:r>
            <a:r>
              <a:rPr lang="zh-CN" altLang="en-US" sz="1400" spc="150" dirty="0"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借助微信官方组件，</a:t>
            </a:r>
            <a:r>
              <a:rPr lang="en-US" altLang="zh-CN" sz="1400" spc="150" dirty="0" err="1"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uView</a:t>
            </a:r>
            <a:r>
              <a:rPr lang="zh-CN" altLang="en-US" sz="1400" spc="150" dirty="0"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等开源组件库进行开发，参考国内外优秀设计不断优化，使得人机交互体验更好更便捷。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AB60B10-2930-E444-C0A5-47CB92E0D64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8400799" y="1545243"/>
            <a:ext cx="3099686" cy="41127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b="1" dirty="0"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设计规范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F48A3EAE-5A83-ACF1-64B4-486D7FF85C06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8351543" y="2095835"/>
            <a:ext cx="3099686" cy="76322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400" spc="150" dirty="0"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从产品设计到研发开发最后到用户使用，始终保持设计一致性，按照标准规范开发，让用户能够在产品全局感受统一且完整的体验，降低用户学习使用程序的难度。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B2A7A5B-B9AB-F017-9F47-B21E681514B4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8400799" y="3712393"/>
            <a:ext cx="3099686" cy="41127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扁平化设计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20190FE-DE81-B12B-F8C3-F6BD36357754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8390913" y="4201326"/>
            <a:ext cx="3099686" cy="76322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400" spc="150" dirty="0">
                <a:latin typeface="Arial" panose="020B0604020202020204" pitchFamily="34" charset="0"/>
                <a:ea typeface="微软雅黑" panose="020B0503020204020204" pitchFamily="34" charset="-122"/>
                <a:sym typeface="宋体" panose="02010600030101010101" pitchFamily="2" charset="-122"/>
              </a:rPr>
              <a:t>紧跟业界的主流设计风格，做到界面美观、简约大方、条理清晰，设计元素上强调抽象、极简、符号化。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0519219-0AF4-607F-EC6B-CEF29E95F61E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993945" y="3104462"/>
            <a:ext cx="1963949" cy="41116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交互设计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9172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109CB9-829F-8194-B809-F20F22D11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2</a:t>
            </a:r>
            <a:r>
              <a:rPr lang="zh-CN" altLang="en-US" dirty="0"/>
              <a:t>页面设计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3D02910-9993-2EB0-E47A-39E82D8FC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42F2EA2-F857-1BB9-4BC9-154984443CE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68" y="1178382"/>
            <a:ext cx="4047413" cy="191065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60FF4B09-F122-025D-8700-997975173D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68" y="3429000"/>
            <a:ext cx="4090775" cy="203981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E3A5CF85-A105-71B3-1C15-48B23CA959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5738" y="1178382"/>
            <a:ext cx="2579632" cy="4523794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CD10435C-3AF5-C50E-78B0-DB9453FD94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2727" y="1178382"/>
            <a:ext cx="2619375" cy="46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1114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líḋè">
            <a:extLst>
              <a:ext uri="{FF2B5EF4-FFF2-40B4-BE49-F238E27FC236}">
                <a16:creationId xmlns:a16="http://schemas.microsoft.com/office/drawing/2014/main" id="{0CB3EA46-59FA-41F3-B6B9-E6A79DC8338B}"/>
              </a:ext>
            </a:extLst>
          </p:cNvPr>
          <p:cNvSpPr txBox="1"/>
          <p:nvPr/>
        </p:nvSpPr>
        <p:spPr>
          <a:xfrm>
            <a:off x="1150791" y="2533650"/>
            <a:ext cx="4714752" cy="53860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4400" spc="-150" dirty="0">
                <a:solidFill>
                  <a:schemeClr val="bg1"/>
                </a:solidFill>
                <a:latin typeface="Impact" panose="020B0806030902050204" pitchFamily="34" charset="0"/>
              </a:rPr>
              <a:t>04</a:t>
            </a:r>
            <a:endParaRPr lang="zh-CN" altLang="en-US" sz="34400" spc="-15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8" name="îŝḷiḋé">
            <a:extLst>
              <a:ext uri="{FF2B5EF4-FFF2-40B4-BE49-F238E27FC236}">
                <a16:creationId xmlns:a16="http://schemas.microsoft.com/office/drawing/2014/main" id="{3F4AE272-7939-3E86-E925-BC4440486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2757" y="3418514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bg1"/>
                </a:solidFill>
              </a:rPr>
              <a:t>下一步开发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5039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380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i"/>
  <p:tag name="KSO_WM_UNIT_INDEX" val="1_1_1"/>
  <p:tag name="KSO_WM_UNIT_ID" val="diagram20176507_4*n_h_i*1_1_1"/>
  <p:tag name="KSO_WM_TEMPLATE_CATEGORY" val="diagram"/>
  <p:tag name="KSO_WM_TEMPLATE_INDEX" val="20176507"/>
  <p:tag name="KSO_WM_UNIT_LAYERLEVEL" val="1_1_1"/>
  <p:tag name="KSO_WM_TAG_VERSION" val="1.0"/>
  <p:tag name="KSO_WM_BEAUTIFY_FLAG" val="#wm#"/>
  <p:tag name="KSO_WM_UNIT_LINE_FORE_SCHEMECOLOR_INDEX" val="7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1_1"/>
  <p:tag name="KSO_WM_UNIT_ID" val="diagram20176507_4*n_h_h_i*1_1_1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14"/>
  <p:tag name="KSO_WM_UNIT_FILL_TYPE" val="1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3_1"/>
  <p:tag name="KSO_WM_UNIT_ID" val="diagram20176507_4*n_h_h_i*1_1_3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14"/>
  <p:tag name="KSO_WM_UNIT_FILL_TYPE" val="1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4_1"/>
  <p:tag name="KSO_WM_UNIT_ID" val="diagram20176507_4*n_h_h_i*1_1_4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14"/>
  <p:tag name="KSO_WM_UNIT_FILL_TYPE" val="1"/>
  <p:tag name="KSO_WM_UNIT_LINE_FORE_SCHEMECOLOR_INDEX" val="10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2_1"/>
  <p:tag name="KSO_WM_UNIT_ID" val="diagram20176507_4*n_h_h_i*1_1_2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14"/>
  <p:tag name="KSO_WM_UNIT_FILL_TYPE" val="1"/>
  <p:tag name="KSO_WM_UNIT_LINE_FORE_SCHEMECOLOR_INDEX" val="6"/>
  <p:tag name="KSO_WM_UNIT_LINE_FILL_TYPE" val="2"/>
  <p:tag name="KSO_WM_UNIT_TEXT_FILL_FORE_SCHEMECOLOR_INDEX" val="2"/>
  <p:tag name="KSO_WM_UNIT_TEXT_FILL_TYPE" val="1"/>
  <p:tag name="KSO_WM_UNIT_USESOURCEFORMAT_APPLY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3_2"/>
  <p:tag name="KSO_WM_UNIT_ID" val="diagram20176507_4*n_h_h_i*1_1_3_2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1_2"/>
  <p:tag name="KSO_WM_UNIT_ID" val="diagram20176507_4*n_h_h_i*1_1_1_2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4_2"/>
  <p:tag name="KSO_WM_UNIT_ID" val="diagram20176507_4*n_h_h_i*1_1_4_2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10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i"/>
  <p:tag name="KSO_WM_UNIT_INDEX" val="1"/>
  <p:tag name="KSO_WM_UNIT_ID" val="diagram20176507_4*i*1"/>
  <p:tag name="KSO_WM_TEMPLATE_CATEGORY" val="diagram"/>
  <p:tag name="KSO_WM_TEMPLATE_INDEX" val="20176507"/>
  <p:tag name="KSO_WM_UNIT_LAYERLEVEL" val="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VALUE" val="9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3_1"/>
  <p:tag name="KSO_WM_UNIT_ID" val="diagram20176507_4*n_h_h_a*1_1_3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f"/>
  <p:tag name="KSO_WM_UNIT_INDEX" val="1_1_3_1"/>
  <p:tag name="KSO_WM_UNIT_ID" val="diagram20176507_4*n_h_h_f*1_1_3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VALUE" val="9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4_1"/>
  <p:tag name="KSO_WM_UNIT_ID" val="diagram20176507_4*n_h_h_a*1_1_4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f"/>
  <p:tag name="KSO_WM_UNIT_INDEX" val="1_1_4_1"/>
  <p:tag name="KSO_WM_UNIT_ID" val="diagram20176507_4*n_h_h_f*1_1_4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VALUE" val="9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1_1"/>
  <p:tag name="KSO_WM_UNIT_ID" val="diagram20176507_4*n_h_h_a*1_1_1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f"/>
  <p:tag name="KSO_WM_UNIT_INDEX" val="1_1_1_1"/>
  <p:tag name="KSO_WM_UNIT_ID" val="diagram20176507_4*n_h_h_f*1_1_1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VALUE" val="9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2_1"/>
  <p:tag name="KSO_WM_UNIT_ID" val="diagram20176507_4*n_h_h_a*1_1_2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标题"/>
  <p:tag name="KSO_WM_UNIT_TEXT_FILL_FORE_SCHEMECOLOR_INDEX" val="13"/>
  <p:tag name="KSO_WM_UNIT_TEXT_FILL_TYPE" val="1"/>
  <p:tag name="KSO_WM_UNIT_USESOURCEFORMAT_APPLY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f"/>
  <p:tag name="KSO_WM_UNIT_INDEX" val="1_1_2_1"/>
  <p:tag name="KSO_WM_UNIT_ID" val="diagram20176507_4*n_h_h_f*1_1_2_1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PRESET_TEXT" val="单击此处添加文本具体内容，简明扼要的阐述您的观点。"/>
  <p:tag name="KSO_WM_UNIT_TEXT_FILL_FORE_SCHEMECOLOR_INDEX" val="13"/>
  <p:tag name="KSO_WM_UNIT_TEXT_FILL_TYPE" val="1"/>
  <p:tag name="KSO_WM_UNIT_USESOURCEFORMAT_APPLY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NOCLEAR" val="0"/>
  <p:tag name="KSO_WM_UNIT_VALUE" val="7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a"/>
  <p:tag name="KSO_WM_UNIT_INDEX" val="1_1_1"/>
  <p:tag name="KSO_WM_UNIT_ID" val="diagram20176507_4*n_h_a*1_1_1"/>
  <p:tag name="KSO_WM_TEMPLATE_CATEGORY" val="diagram"/>
  <p:tag name="KSO_WM_TEMPLATE_INDEX" val="20176507"/>
  <p:tag name="KSO_WM_UNIT_LAYERLEVEL" val="1_1_1"/>
  <p:tag name="KSO_WM_TAG_VERSION" val="1.0"/>
  <p:tag name="KSO_WM_BEAUTIFY_FLAG" val="#wm#"/>
  <p:tag name="KSO_WM_UNIT_PRESET_TEXT" val="添加标题"/>
  <p:tag name="KSO_WM_UNIT_TEXT_FILL_FORE_SCHEMECOLOR_INDEX" val="14"/>
  <p:tag name="KSO_WM_UNIT_TEXT_FILL_TYPE" val="1"/>
  <p:tag name="KSO_WM_UNIT_USESOURCEFORMAT_APPLY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2_2"/>
  <p:tag name="KSO_WM_UNIT_ID" val="diagram20176507_4*n_h_h_i*1_1_2_2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2_3"/>
  <p:tag name="KSO_WM_UNIT_ID" val="diagram20176507_4*n_h_h_i*1_1_2_3"/>
  <p:tag name="KSO_WM_TEMPLATE_CATEGORY" val="diagram"/>
  <p:tag name="KSO_WM_TEMPLATE_INDEX" val="20176507"/>
  <p:tag name="KSO_WM_UNIT_LAYERLEVEL" val="1_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i"/>
  <p:tag name="KSO_WM_UNIT_INDEX" val="1_1_2"/>
  <p:tag name="KSO_WM_UNIT_ID" val="diagram20176507_4*n_h_i*1_1_2"/>
  <p:tag name="KSO_WM_TEMPLATE_CATEGORY" val="diagram"/>
  <p:tag name="KSO_WM_TEMPLATE_INDEX" val="20176507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  <p:tag name="KSO_WM_UNIT_USESOURCEFORMAT_APPLY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i"/>
  <p:tag name="KSO_WM_UNIT_INDEX" val="1_1_3"/>
  <p:tag name="KSO_WM_UNIT_ID" val="diagram20176507_4*n_h_i*1_1_3"/>
  <p:tag name="KSO_WM_TEMPLATE_CATEGORY" val="diagram"/>
  <p:tag name="KSO_WM_TEMPLATE_INDEX" val="20176507"/>
  <p:tag name="KSO_WM_UNIT_LAYERLEVEL" val="1_1_1"/>
  <p:tag name="KSO_WM_TAG_VERSION" val="1.0"/>
  <p:tag name="KSO_WM_BEAUTIFY_FLAG" val="#wm#"/>
  <p:tag name="KSO_WM_UNIT_LINE_FORE_SCHEMECOLOR_INDEX" val="8"/>
  <p:tag name="KSO_WM_UNIT_LINE_FILL_TYPE" val="2"/>
  <p:tag name="KSO_WM_UNIT_TEXT_FILL_FORE_SCHEMECOLOR_INDEX" val="2"/>
  <p:tag name="KSO_WM_UNIT_TEXT_FILL_TYPE" val="1"/>
  <p:tag name="KSO_WM_UNIT_USESOURCEFORMAT_APPLY" val="1"/>
</p:tagLst>
</file>

<file path=ppt/theme/theme1.xml><?xml version="1.0" encoding="utf-8"?>
<a:theme xmlns:a="http://schemas.openxmlformats.org/drawingml/2006/main" name="主题5">
  <a:themeElements>
    <a:clrScheme name="蓝和黄">
      <a:dk1>
        <a:srgbClr val="000000"/>
      </a:dk1>
      <a:lt1>
        <a:srgbClr val="FFFFFF"/>
      </a:lt1>
      <a:dk2>
        <a:srgbClr val="44546A"/>
      </a:dk2>
      <a:lt2>
        <a:srgbClr val="E6E4E4"/>
      </a:lt2>
      <a:accent1>
        <a:srgbClr val="2D29A1"/>
      </a:accent1>
      <a:accent2>
        <a:srgbClr val="BAADE9"/>
      </a:accent2>
      <a:accent3>
        <a:srgbClr val="4A58DA"/>
      </a:accent3>
      <a:accent4>
        <a:srgbClr val="A4B1FB"/>
      </a:accent4>
      <a:accent5>
        <a:srgbClr val="FFBB00"/>
      </a:accent5>
      <a:accent6>
        <a:srgbClr val="1D5986"/>
      </a:accent6>
      <a:hlink>
        <a:srgbClr val="0563C1"/>
      </a:hlink>
      <a:folHlink>
        <a:srgbClr val="954D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90</TotalTime>
  <Words>480</Words>
  <Application>Microsoft Office PowerPoint</Application>
  <PresentationFormat>宽屏</PresentationFormat>
  <Paragraphs>53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4" baseType="lpstr">
      <vt:lpstr>ali-55</vt:lpstr>
      <vt:lpstr>Söhne</vt:lpstr>
      <vt:lpstr>等线</vt:lpstr>
      <vt:lpstr>仿宋</vt:lpstr>
      <vt:lpstr>华文楷体</vt:lpstr>
      <vt:lpstr>微软雅黑</vt:lpstr>
      <vt:lpstr>Arial</vt:lpstr>
      <vt:lpstr>Calibri</vt:lpstr>
      <vt:lpstr>Impact</vt:lpstr>
      <vt:lpstr>主题5</vt:lpstr>
      <vt:lpstr>think-cell Slide</vt:lpstr>
      <vt:lpstr>         饿了吧外卖</vt:lpstr>
      <vt:lpstr>项目背景</vt:lpstr>
      <vt:lpstr>项目背景</vt:lpstr>
      <vt:lpstr>产品介绍</vt:lpstr>
      <vt:lpstr>产品简介</vt:lpstr>
      <vt:lpstr>产品设计</vt:lpstr>
      <vt:lpstr>过程设计</vt:lpstr>
      <vt:lpstr>3.2页面设计</vt:lpstr>
      <vt:lpstr>下一步开发</vt:lpstr>
      <vt:lpstr>下一步开发</vt:lpstr>
      <vt:lpstr>项目仓库</vt:lpstr>
      <vt:lpstr>项目仓库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 rw</cp:lastModifiedBy>
  <cp:revision>102</cp:revision>
  <cp:lastPrinted>2017-11-14T16:00:00Z</cp:lastPrinted>
  <dcterms:created xsi:type="dcterms:W3CDTF">2017-11-14T16:00:00Z</dcterms:created>
  <dcterms:modified xsi:type="dcterms:W3CDTF">2023-09-14T13:0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